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1.xml" ContentType="application/vnd.openxmlformats-officedocument.drawingml.chartshapes+xml"/>
  <Override PartName="/ppt/notesSlides/notesSlide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3.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2.xml" ContentType="application/vnd.openxmlformats-officedocument.themeOverride+xml"/>
  <Override PartName="/ppt/charts/chart5.xml" ContentType="application/vnd.openxmlformats-officedocument.drawingml.chart+xml"/>
  <Override PartName="/ppt/notesSlides/notesSlide4.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5.xml" ContentType="application/vnd.openxmlformats-officedocument.presentationml.notesSlid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6.xml" ContentType="application/vnd.openxmlformats-officedocument.presentationml.notesSlid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7.xml" ContentType="application/vnd.openxmlformats-officedocument.presentationml.notesSlid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4.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5.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6.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7.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10.xml" ContentType="application/vnd.openxmlformats-officedocument.presentationml.notesSlide+xml"/>
  <Override PartName="/ppt/tags/tag1.xml" ContentType="application/vnd.openxmlformats-officedocument.presentationml.tags+xml"/>
  <Override PartName="/ppt/notesSlides/notesSlide11.xml" ContentType="application/vnd.openxmlformats-officedocument.presentationml.notesSlide+xml"/>
  <Override PartName="/ppt/tags/tag2.xml" ContentType="application/vnd.openxmlformats-officedocument.presentationml.tags+xml"/>
  <Override PartName="/ppt/notesSlides/notesSlide12.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8.xml" ContentType="application/vnd.openxmlformats-officedocument.drawingml.chart+xml"/>
  <Override PartName="/ppt/charts/style17.xml" ContentType="application/vnd.ms-office.chartstyle+xml"/>
  <Override PartName="/ppt/charts/colors17.xml" ContentType="application/vnd.ms-office.chartcolorstyle+xml"/>
  <Override PartName="/ppt/comments/modernComment_7FFFCF99_35FB6AB8.xml" ContentType="application/vnd.ms-powerpoint.comments+xml"/>
  <Override PartName="/ppt/notesSlides/notesSlide16.xml" ContentType="application/vnd.openxmlformats-officedocument.presentationml.notesSlide+xml"/>
  <Override PartName="/ppt/comments/modernComment_7FFFCF8D_779EBAE3.xml" ContentType="application/vnd.ms-powerpoint.comment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heme/themeOverride3.xml" ContentType="application/vnd.openxmlformats-officedocument.themeOverride+xml"/>
  <Override PartName="/ppt/tags/tag5.xml" ContentType="application/vnd.openxmlformats-officedocument.presentationml.tags+xml"/>
  <Override PartName="/ppt/comments/modernComment_29BC_9CB21FE4.xml" ContentType="application/vnd.ms-powerpoint.comment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omments/modernComment_117_A0057CAA.xml" ContentType="application/vnd.ms-powerpoint.comment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03" r:id="rId4"/>
  </p:sldMasterIdLst>
  <p:notesMasterIdLst>
    <p:notesMasterId r:id="rId59"/>
  </p:notesMasterIdLst>
  <p:sldIdLst>
    <p:sldId id="262" r:id="rId5"/>
    <p:sldId id="272" r:id="rId6"/>
    <p:sldId id="10269" r:id="rId7"/>
    <p:sldId id="10407" r:id="rId8"/>
    <p:sldId id="10408" r:id="rId9"/>
    <p:sldId id="10409" r:id="rId10"/>
    <p:sldId id="2147471239" r:id="rId11"/>
    <p:sldId id="2147471240" r:id="rId12"/>
    <p:sldId id="2147471241" r:id="rId13"/>
    <p:sldId id="2147471243" r:id="rId14"/>
    <p:sldId id="2147471242" r:id="rId15"/>
    <p:sldId id="2147471267" r:id="rId16"/>
    <p:sldId id="292" r:id="rId17"/>
    <p:sldId id="10702" r:id="rId18"/>
    <p:sldId id="315" r:id="rId19"/>
    <p:sldId id="317" r:id="rId20"/>
    <p:sldId id="2147471266" r:id="rId21"/>
    <p:sldId id="2147471268" r:id="rId22"/>
    <p:sldId id="2147471263" r:id="rId23"/>
    <p:sldId id="2147471264" r:id="rId24"/>
    <p:sldId id="2147471265" r:id="rId25"/>
    <p:sldId id="276" r:id="rId26"/>
    <p:sldId id="2147471258" r:id="rId27"/>
    <p:sldId id="10403" r:id="rId28"/>
    <p:sldId id="2147471270" r:id="rId29"/>
    <p:sldId id="2147471262" r:id="rId30"/>
    <p:sldId id="282" r:id="rId31"/>
    <p:sldId id="2147471257" r:id="rId32"/>
    <p:sldId id="302" r:id="rId33"/>
    <p:sldId id="2147471245" r:id="rId34"/>
    <p:sldId id="2147471247" r:id="rId35"/>
    <p:sldId id="2147471246" r:id="rId36"/>
    <p:sldId id="2147471251" r:id="rId37"/>
    <p:sldId id="2147471271" r:id="rId38"/>
    <p:sldId id="2147471260" r:id="rId39"/>
    <p:sldId id="258" r:id="rId40"/>
    <p:sldId id="2147471261" r:id="rId41"/>
    <p:sldId id="10698" r:id="rId42"/>
    <p:sldId id="10684" r:id="rId43"/>
    <p:sldId id="10705" r:id="rId44"/>
    <p:sldId id="10720" r:id="rId45"/>
    <p:sldId id="10724" r:id="rId46"/>
    <p:sldId id="10725" r:id="rId47"/>
    <p:sldId id="10726" r:id="rId48"/>
    <p:sldId id="10727" r:id="rId49"/>
    <p:sldId id="10703" r:id="rId50"/>
    <p:sldId id="10706" r:id="rId51"/>
    <p:sldId id="10708" r:id="rId52"/>
    <p:sldId id="10707" r:id="rId53"/>
    <p:sldId id="10709" r:id="rId54"/>
    <p:sldId id="10711" r:id="rId55"/>
    <p:sldId id="10714" r:id="rId56"/>
    <p:sldId id="278" r:id="rId57"/>
    <p:sldId id="279" r:id="rId58"/>
  </p:sldIdLst>
  <p:sldSz cx="12192000" cy="6858000"/>
  <p:notesSz cx="7010400" cy="9296400"/>
  <p:defaultTex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54C3304-0411-06AF-1DBA-CC9C7B63600D}" name="Dipres" initials="DE" userId="Dipres" providerId="None"/>
  <p188:author id="{13E4AE05-D228-83CC-6083-1640895B0CD6}" name="Consuelo Fernández" initials="CF" userId="S::cfernandez@hacienda.gov.cl::578b118e-3208-40ce-b3bb-aa3db46e4aaa" providerId="AD"/>
  <p188:author id="{9F85250A-3116-9702-D679-87B775BDD7FD}" name="Joaquín Perez A" initials="JP" userId="S::japerez@dipres.gob.cl::c613291f-b4c5-4677-82c8-7c1305093929" providerId="AD"/>
  <p188:author id="{8AE5BB17-676B-5B29-A510-E2D3A0B362D3}" name="Belén Vásquez" initials="BV" userId="S::bvasquez@hacienda.gov.cl::4b89cbb0-555c-4904-ae3d-c91aa5c414eb" providerId="AD"/>
  <p188:author id="{F9B28D1E-410E-9FD5-7054-AE5B662D9B18}" name="Camila Ureta Retamal" initials="" userId="S::cureta@dipres.gob.cl::9e43d308-f9b9-424e-930e-4fecdfda30a4" providerId="AD"/>
  <p188:author id="{291A5625-93C2-D7A3-4739-193E01F6BF8E}" name="Montserrat Toledo Egaña" initials="ME" userId="S::mtoledo@dipres.gob.cl::8e1ec3ab-1b94-46f8-b893-f0e51286886c" providerId="AD"/>
  <p188:author id="{9E71572F-067F-9956-3071-A19D2FDF6333}" name="Tania Hernández J" initials="TH" userId="S::thernandez@dipres.gob.cl::addba336-7181-437c-9483-cb0541d012b2" providerId="AD"/>
  <p188:author id="{74ACB03D-879A-E23C-82B6-BC78084E8353}" name="Javiera Martínez Fariña" initials="JMF" userId="S::jmartinez@dipres.gob.cl::faa1217a-c4f2-478c-8ba1-c3a0058911e8" providerId="AD"/>
  <p188:author id="{56D2705F-EA36-FD6E-8980-783F32823EC5}" name="Pablo Jorquera A" initials="PJA" userId="Pablo Jorquera A" providerId="None"/>
  <p188:author id="{31D50969-AF96-A6C6-5F20-CA3C1C49AC1B}" name="csanhueza@hacienda.gov.cl" initials="cs" userId="S::urn:spo:guest#csanhueza@hacienda.gov.cl::" providerId="AD"/>
  <p188:author id="{F68BCB69-558C-161E-2590-197D867A8B99}" name="Miguel Brante Contreras" initials="MBC" userId="S::mbrante@dipres.gob.cl::753113ee-b42f-44ed-a66b-ca2d22867691" providerId="AD"/>
  <p188:author id="{700EB66C-DFE3-1F0E-6F9E-48BD05793B7A}" name="Milena Martinez Valenzuela" initials="MM" userId="S::mvalenzuela@dipres.gob.cl::be3f4e8d-1043-46cf-ba05-86ea3ca9d6fe" providerId="AD"/>
  <p188:author id="{D0FAD6AC-005C-D2BE-5635-13DCED8DA9B0}" name="DIPRES" initials="CUR" userId="DIPRES" providerId="None"/>
  <p188:author id="{987654E0-A57F-1C7B-7845-D80CFAA8D3A9}" name="Matías Contreras Figueroa" initials="MC" userId="S::mcontreras@dipres.gob.cl::c7e19c49-a152-4351-94ae-4d6302d713f0" providerId="AD"/>
  <p188:author id="{19B927E3-39E3-C202-02E0-F4C1CE771360}" name="Tania Hernández J" initials="THJ" userId="Tania Hernández J" providerId="None"/>
  <p188:author id="{DCBA6CF5-9282-7540-37ED-4ECDF016F992}" name="Pamela Cuevas Vergara" initials="PV" userId="S::pcuevas@dipres.gob.cl::61823855-c8d6-42b2-8f9b-74701cd62525" providerId="AD"/>
  <p188:author id="{C32EC7F8-1208-5E58-FB45-5CBDD01776D5}" name="Patricia Orellana F." initials="" userId="S::POrellana@Dipres.gob.cl::d3d05bd2-7ff8-4ffc-ad21-3be6819e203e"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F4E79"/>
    <a:srgbClr val="003D58"/>
    <a:srgbClr val="80C0CD"/>
    <a:srgbClr val="0082AF"/>
    <a:srgbClr val="2F5598"/>
    <a:srgbClr val="E6E6E6"/>
    <a:srgbClr val="FFFFFF"/>
    <a:srgbClr val="F6EEE6"/>
    <a:srgbClr val="F1E6D9"/>
    <a:srgbClr val="F7F2E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3443E6A-EB80-456D-86FD-9E2F6556A1FF}" v="28" dt="2023-12-11T00:12:50.813"/>
    <p1510:client id="{1F2D7223-0A9F-4263-90A5-62B0B8E2D6F1}" v="90" dt="2023-12-11T20:00:24.330"/>
    <p1510:client id="{219E7D29-50F1-4C9F-B978-D6AB56C1FC2A}" v="26" vWet="28" dt="2023-12-11T17:49:02.009"/>
    <p1510:client id="{35A00D86-6DF4-7C70-FE20-EF399987225C}" v="26" dt="2023-12-11T18:04:57.704"/>
    <p1510:client id="{3E18673B-246C-4BD2-A8F2-AC81FA39F1C8}" v="489" dt="2023-12-10T20:09:35.743"/>
    <p1510:client id="{60179218-B70C-4D12-A09E-1BB385B297CD}" v="1125" dt="2023-12-11T19:17:49.382"/>
    <p1510:client id="{62F96067-3832-416C-9677-38572190C442}" v="189" dt="2023-12-11T18:57:55.331"/>
    <p1510:client id="{92958F13-961F-4C92-AA00-5F5A4C3C348B}" v="91" dt="2023-12-11T14:21:36.015"/>
    <p1510:client id="{99D9136B-12E8-468A-9712-3FDC53018C91}" v="2134" vWet="2136" dt="2023-12-11T15:48:55.253"/>
    <p1510:client id="{9EF4ECF5-603B-47C8-A24D-F21528D4FB84}" v="7" dt="2023-12-11T18:07:14.940"/>
    <p1510:client id="{BE01ED8A-74CB-4303-BD0B-2A608DF04529}" v="257" vWet="261" dt="2023-12-11T17:48:19.204"/>
    <p1510:client id="{C187185D-5A98-4EEB-894B-0CD8179B8D7B}" v="47" vWet="49" dt="2023-12-11T17:47:35.086"/>
    <p1510:client id="{D5D99B54-D8CC-4775-B893-28EFA6276974}" v="491" dt="2023-12-11T19:57:55.871"/>
    <p1510:client id="{E60A9B1C-90BA-FE94-B3DC-809B2E861CFA}" v="5" dt="2023-12-11T13:19:25.772"/>
    <p1510:client id="{F3D7A565-BC21-C817-6D1B-9D4DCC88053B}" v="7" dt="2023-12-11T19:07:19.348"/>
  </p1510:revLst>
</p1510:revInfo>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Estilo medio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9CF1AB2-1976-4502-BF36-3FF5EA218861}" styleName="Estilo medio 4 - Énfasis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BC89EF96-8CEA-46FF-86C4-4CE0E7609802}" styleName="Estilo claro 3 - Acento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8799B23B-EC83-4686-B30A-512413B5E67A}" styleName="Estilo claro 3 - Acento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5" d="100"/>
          <a:sy n="65" d="100"/>
        </p:scale>
        <p:origin x="912" y="78"/>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ableStyles" Target="tableStyle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microsoft.com/office/2018/10/relationships/authors" Target="authors.xml"/><Relationship Id="rId5" Type="http://schemas.openxmlformats.org/officeDocument/2006/relationships/slide" Target="slides/slide1.xml"/><Relationship Id="rId61" Type="http://schemas.openxmlformats.org/officeDocument/2006/relationships/viewProps" Target="viewProps.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microsoft.com/office/2016/11/relationships/changesInfo" Target="changesInfos/changesInfo1.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notesMaster" Target="notesMasters/notesMaster1.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presProps" Target="presProps.xml"/><Relationship Id="rId65"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ontserrat Toledo Egaña" userId="S::mtoledo@dipres.gob.cl::8e1ec3ab-1b94-46f8-b893-f0e51286886c" providerId="AD" clId="Web-{35A00D86-6DF4-7C70-FE20-EF399987225C}"/>
    <pc:docChg chg="mod addSld modSld">
      <pc:chgData name="Montserrat Toledo Egaña" userId="S::mtoledo@dipres.gob.cl::8e1ec3ab-1b94-46f8-b893-f0e51286886c" providerId="AD" clId="Web-{35A00D86-6DF4-7C70-FE20-EF399987225C}" dt="2023-12-11T18:04:57.704" v="12"/>
      <pc:docMkLst>
        <pc:docMk/>
      </pc:docMkLst>
      <pc:sldChg chg="addCm modCm">
        <pc:chgData name="Montserrat Toledo Egaña" userId="S::mtoledo@dipres.gob.cl::8e1ec3ab-1b94-46f8-b893-f0e51286886c" providerId="AD" clId="Web-{35A00D86-6DF4-7C70-FE20-EF399987225C}" dt="2023-12-11T18:04:33.923" v="11"/>
        <pc:sldMkLst>
          <pc:docMk/>
          <pc:sldMk cId="3868216601" sldId="258"/>
        </pc:sldMkLst>
        <pc:extLst>
          <p:ext xmlns:p="http://schemas.openxmlformats.org/presentationml/2006/main" uri="{D6D511B9-2390-475A-947B-AFAB55BFBCF1}">
            <pc226:cmChg xmlns:pc226="http://schemas.microsoft.com/office/powerpoint/2022/06/main/command" chg="add">
              <pc226:chgData name="Montserrat Toledo Egaña" userId="S::mtoledo@dipres.gob.cl::8e1ec3ab-1b94-46f8-b893-f0e51286886c" providerId="AD" clId="Web-{35A00D86-6DF4-7C70-FE20-EF399987225C}" dt="2023-12-11T18:04:33.923" v="11"/>
              <pc2:cmMkLst xmlns:pc2="http://schemas.microsoft.com/office/powerpoint/2019/9/main/command">
                <pc:docMk/>
                <pc:sldMk cId="3868216601" sldId="258"/>
                <pc2:cmMk id="{F57E2491-3AAC-4483-9C85-7C2B7B044240}"/>
              </pc2:cmMkLst>
              <pc226:cmRplyChg chg="add">
                <pc226:chgData name="Montserrat Toledo Egaña" userId="S::mtoledo@dipres.gob.cl::8e1ec3ab-1b94-46f8-b893-f0e51286886c" providerId="AD" clId="Web-{35A00D86-6DF4-7C70-FE20-EF399987225C}" dt="2023-12-11T18:04:33.923" v="11"/>
                <pc2:cmRplyMkLst xmlns:pc2="http://schemas.microsoft.com/office/powerpoint/2019/9/main/command">
                  <pc:docMk/>
                  <pc:sldMk cId="3868216601" sldId="258"/>
                  <pc2:cmMk id="{F57E2491-3AAC-4483-9C85-7C2B7B044240}"/>
                  <pc2:cmRplyMk id="{922EA23C-C803-4A01-826B-A26B801C1EE4}"/>
                </pc2:cmRplyMkLst>
              </pc226:cmRplyChg>
            </pc226:cmChg>
          </p:ext>
        </pc:extLst>
      </pc:sldChg>
      <pc:sldChg chg="modSp">
        <pc:chgData name="Montserrat Toledo Egaña" userId="S::mtoledo@dipres.gob.cl::8e1ec3ab-1b94-46f8-b893-f0e51286886c" providerId="AD" clId="Web-{35A00D86-6DF4-7C70-FE20-EF399987225C}" dt="2023-12-11T17:48:53.604" v="7" actId="20577"/>
        <pc:sldMkLst>
          <pc:docMk/>
          <pc:sldMk cId="877613551" sldId="276"/>
        </pc:sldMkLst>
        <pc:spChg chg="mod">
          <ac:chgData name="Montserrat Toledo Egaña" userId="S::mtoledo@dipres.gob.cl::8e1ec3ab-1b94-46f8-b893-f0e51286886c" providerId="AD" clId="Web-{35A00D86-6DF4-7C70-FE20-EF399987225C}" dt="2023-12-11T17:48:53.604" v="7" actId="20577"/>
          <ac:spMkLst>
            <pc:docMk/>
            <pc:sldMk cId="877613551" sldId="276"/>
            <ac:spMk id="4" creationId="{00000000-0000-0000-0000-000000000000}"/>
          </ac:spMkLst>
        </pc:spChg>
      </pc:sldChg>
      <pc:sldChg chg="modSp">
        <pc:chgData name="Montserrat Toledo Egaña" userId="S::mtoledo@dipres.gob.cl::8e1ec3ab-1b94-46f8-b893-f0e51286886c" providerId="AD" clId="Web-{35A00D86-6DF4-7C70-FE20-EF399987225C}" dt="2023-12-11T17:47:48.508" v="1"/>
        <pc:sldMkLst>
          <pc:docMk/>
          <pc:sldMk cId="2726296481" sldId="292"/>
        </pc:sldMkLst>
        <pc:graphicFrameChg chg="mod modGraphic">
          <ac:chgData name="Montserrat Toledo Egaña" userId="S::mtoledo@dipres.gob.cl::8e1ec3ab-1b94-46f8-b893-f0e51286886c" providerId="AD" clId="Web-{35A00D86-6DF4-7C70-FE20-EF399987225C}" dt="2023-12-11T17:47:48.508" v="1"/>
          <ac:graphicFrameMkLst>
            <pc:docMk/>
            <pc:sldMk cId="2726296481" sldId="292"/>
            <ac:graphicFrameMk id="2" creationId="{5EEFAE31-FD6E-18C4-EED9-C391D5D6D54C}"/>
          </ac:graphicFrameMkLst>
        </pc:graphicFrameChg>
      </pc:sldChg>
      <pc:sldChg chg="addCm">
        <pc:chgData name="Montserrat Toledo Egaña" userId="S::mtoledo@dipres.gob.cl::8e1ec3ab-1b94-46f8-b893-f0e51286886c" providerId="AD" clId="Web-{35A00D86-6DF4-7C70-FE20-EF399987225C}" dt="2023-12-11T17:50:49.231" v="9"/>
        <pc:sldMkLst>
          <pc:docMk/>
          <pc:sldMk cId="2628919268" sldId="10684"/>
        </pc:sldMkLst>
        <pc:extLst>
          <p:ext xmlns:p="http://schemas.openxmlformats.org/presentationml/2006/main" uri="{D6D511B9-2390-475A-947B-AFAB55BFBCF1}">
            <pc226:cmChg xmlns:pc226="http://schemas.microsoft.com/office/powerpoint/2022/06/main/command" chg="add">
              <pc226:chgData name="Montserrat Toledo Egaña" userId="S::mtoledo@dipres.gob.cl::8e1ec3ab-1b94-46f8-b893-f0e51286886c" providerId="AD" clId="Web-{35A00D86-6DF4-7C70-FE20-EF399987225C}" dt="2023-12-11T17:50:49.231" v="9"/>
              <pc2:cmMkLst xmlns:pc2="http://schemas.microsoft.com/office/powerpoint/2019/9/main/command">
                <pc:docMk/>
                <pc:sldMk cId="2628919268" sldId="10684"/>
                <pc2:cmMk id="{6A5CB83C-D228-46C6-90BB-D05A724F155B}"/>
              </pc2:cmMkLst>
            </pc226:cmChg>
          </p:ext>
        </pc:extLst>
      </pc:sldChg>
      <pc:sldChg chg="add replId">
        <pc:chgData name="Montserrat Toledo Egaña" userId="S::mtoledo@dipres.gob.cl::8e1ec3ab-1b94-46f8-b893-f0e51286886c" providerId="AD" clId="Web-{35A00D86-6DF4-7C70-FE20-EF399987225C}" dt="2023-12-11T18:04:57.704" v="12"/>
        <pc:sldMkLst>
          <pc:docMk/>
          <pc:sldMk cId="474913927" sldId="2147471261"/>
        </pc:sldMkLst>
      </pc:sldChg>
    </pc:docChg>
  </pc:docChgLst>
  <pc:docChgLst>
    <pc:chgData name="Miguel Brante Contreras" userId="753113ee-b42f-44ed-a66b-ca2d22867691" providerId="ADAL" clId="{62F96067-3832-416C-9677-38572190C442}"/>
    <pc:docChg chg="undo redo custSel modSld">
      <pc:chgData name="Miguel Brante Contreras" userId="753113ee-b42f-44ed-a66b-ca2d22867691" providerId="ADAL" clId="{62F96067-3832-416C-9677-38572190C442}" dt="2023-12-11T18:57:55.331" v="183"/>
      <pc:docMkLst>
        <pc:docMk/>
      </pc:docMkLst>
      <pc:sldChg chg="modSp mod modCm">
        <pc:chgData name="Miguel Brante Contreras" userId="753113ee-b42f-44ed-a66b-ca2d22867691" providerId="ADAL" clId="{62F96067-3832-416C-9677-38572190C442}" dt="2023-12-11T16:04:22.508" v="147"/>
        <pc:sldMkLst>
          <pc:docMk/>
          <pc:sldMk cId="1286877226" sldId="282"/>
        </pc:sldMkLst>
        <pc:spChg chg="mod">
          <ac:chgData name="Miguel Brante Contreras" userId="753113ee-b42f-44ed-a66b-ca2d22867691" providerId="ADAL" clId="{62F96067-3832-416C-9677-38572190C442}" dt="2023-12-11T16:04:04.511" v="146" actId="108"/>
          <ac:spMkLst>
            <pc:docMk/>
            <pc:sldMk cId="1286877226" sldId="282"/>
            <ac:spMk id="3" creationId="{00000000-0000-0000-0000-000000000000}"/>
          </ac:spMkLst>
        </pc:spChg>
        <pc:extLst>
          <p:ext xmlns:p="http://schemas.openxmlformats.org/presentationml/2006/main" uri="{D6D511B9-2390-475A-947B-AFAB55BFBCF1}">
            <pc226:cmChg xmlns:pc226="http://schemas.microsoft.com/office/powerpoint/2022/06/main/command" chg="">
              <pc226:chgData name="Miguel Brante Contreras" userId="753113ee-b42f-44ed-a66b-ca2d22867691" providerId="ADAL" clId="{62F96067-3832-416C-9677-38572190C442}" dt="2023-12-11T16:04:22.508" v="147"/>
              <pc2:cmMkLst xmlns:pc2="http://schemas.microsoft.com/office/powerpoint/2019/9/main/command">
                <pc:docMk/>
                <pc:sldMk cId="1286877226" sldId="282"/>
                <pc2:cmMk id="{79247237-113A-44B4-ACF4-CA1149534CB9}"/>
              </pc2:cmMkLst>
              <pc226:cmRplyChg chg="add">
                <pc226:chgData name="Miguel Brante Contreras" userId="753113ee-b42f-44ed-a66b-ca2d22867691" providerId="ADAL" clId="{62F96067-3832-416C-9677-38572190C442}" dt="2023-12-11T16:04:22.508" v="147"/>
                <pc2:cmRplyMkLst xmlns:pc2="http://schemas.microsoft.com/office/powerpoint/2019/9/main/command">
                  <pc:docMk/>
                  <pc:sldMk cId="1286877226" sldId="282"/>
                  <pc2:cmMk id="{79247237-113A-44B4-ACF4-CA1149534CB9}"/>
                  <pc2:cmRplyMk id="{BEC77187-0BE3-4166-A59D-901B9103081A}"/>
                </pc2:cmRplyMkLst>
              </pc226:cmRplyChg>
            </pc226:cmChg>
          </p:ext>
        </pc:extLst>
      </pc:sldChg>
      <pc:sldChg chg="modSp mod modCm">
        <pc:chgData name="Miguel Brante Contreras" userId="753113ee-b42f-44ed-a66b-ca2d22867691" providerId="ADAL" clId="{62F96067-3832-416C-9677-38572190C442}" dt="2023-12-11T18:57:55.331" v="183"/>
        <pc:sldMkLst>
          <pc:docMk/>
          <pc:sldMk cId="4172540067" sldId="2147471246"/>
        </pc:sldMkLst>
        <pc:spChg chg="mod">
          <ac:chgData name="Miguel Brante Contreras" userId="753113ee-b42f-44ed-a66b-ca2d22867691" providerId="ADAL" clId="{62F96067-3832-416C-9677-38572190C442}" dt="2023-12-11T18:57:09.208" v="182" actId="20577"/>
          <ac:spMkLst>
            <pc:docMk/>
            <pc:sldMk cId="4172540067" sldId="2147471246"/>
            <ac:spMk id="3" creationId="{00000000-0000-0000-0000-000000000000}"/>
          </ac:spMkLst>
        </pc:spChg>
        <pc:extLst>
          <p:ext xmlns:p="http://schemas.openxmlformats.org/presentationml/2006/main" uri="{D6D511B9-2390-475A-947B-AFAB55BFBCF1}">
            <pc226:cmChg xmlns:pc226="http://schemas.microsoft.com/office/powerpoint/2022/06/main/command" chg="mod">
              <pc226:chgData name="Miguel Brante Contreras" userId="753113ee-b42f-44ed-a66b-ca2d22867691" providerId="ADAL" clId="{62F96067-3832-416C-9677-38572190C442}" dt="2023-12-11T18:57:55.331" v="183"/>
              <pc2:cmMkLst xmlns:pc2="http://schemas.microsoft.com/office/powerpoint/2019/9/main/command">
                <pc:docMk/>
                <pc:sldMk cId="4172540067" sldId="2147471246"/>
                <pc2:cmMk id="{28B0A288-8643-4DC1-96EA-601AEDE9A242}"/>
              </pc2:cmMkLst>
              <pc226:cmRplyChg chg="add">
                <pc226:chgData name="Miguel Brante Contreras" userId="753113ee-b42f-44ed-a66b-ca2d22867691" providerId="ADAL" clId="{62F96067-3832-416C-9677-38572190C442}" dt="2023-12-11T18:57:55.331" v="183"/>
                <pc2:cmRplyMkLst xmlns:pc2="http://schemas.microsoft.com/office/powerpoint/2019/9/main/command">
                  <pc:docMk/>
                  <pc:sldMk cId="4172540067" sldId="2147471246"/>
                  <pc2:cmMk id="{28B0A288-8643-4DC1-96EA-601AEDE9A242}"/>
                  <pc2:cmRplyMk id="{E1FD05B1-950C-416D-B2BB-9F272E41A0D4}"/>
                </pc2:cmRplyMkLst>
              </pc226:cmRplyChg>
            </pc226:cmChg>
          </p:ext>
        </pc:extLst>
      </pc:sldChg>
      <pc:sldChg chg="modSp mod modCm">
        <pc:chgData name="Miguel Brante Contreras" userId="753113ee-b42f-44ed-a66b-ca2d22867691" providerId="ADAL" clId="{62F96067-3832-416C-9677-38572190C442}" dt="2023-12-11T16:05:43.995" v="176"/>
        <pc:sldMkLst>
          <pc:docMk/>
          <pc:sldMk cId="1800313876" sldId="2147471256"/>
        </pc:sldMkLst>
        <pc:spChg chg="mod">
          <ac:chgData name="Miguel Brante Contreras" userId="753113ee-b42f-44ed-a66b-ca2d22867691" providerId="ADAL" clId="{62F96067-3832-416C-9677-38572190C442}" dt="2023-12-11T16:05:34.062" v="175" actId="20577"/>
          <ac:spMkLst>
            <pc:docMk/>
            <pc:sldMk cId="1800313876" sldId="2147471256"/>
            <ac:spMk id="3" creationId="{00000000-0000-0000-0000-000000000000}"/>
          </ac:spMkLst>
        </pc:spChg>
        <pc:extLst>
          <p:ext xmlns:p="http://schemas.openxmlformats.org/presentationml/2006/main" uri="{D6D511B9-2390-475A-947B-AFAB55BFBCF1}">
            <pc226:cmChg xmlns:pc226="http://schemas.microsoft.com/office/powerpoint/2022/06/main/command" chg="mod">
              <pc226:chgData name="Miguel Brante Contreras" userId="753113ee-b42f-44ed-a66b-ca2d22867691" providerId="ADAL" clId="{62F96067-3832-416C-9677-38572190C442}" dt="2023-12-11T16:05:34.062" v="175" actId="20577"/>
              <pc2:cmMkLst xmlns:pc2="http://schemas.microsoft.com/office/powerpoint/2019/9/main/command">
                <pc:docMk/>
                <pc:sldMk cId="1800313876" sldId="2147471256"/>
                <pc2:cmMk id="{9A21E350-BCF3-4CE6-A175-A1BA58AEA4F6}"/>
              </pc2:cmMkLst>
            </pc226:cmChg>
            <pc226:cmChg xmlns:pc226="http://schemas.microsoft.com/office/powerpoint/2022/06/main/command" chg="mod">
              <pc226:chgData name="Miguel Brante Contreras" userId="753113ee-b42f-44ed-a66b-ca2d22867691" providerId="ADAL" clId="{62F96067-3832-416C-9677-38572190C442}" dt="2023-12-11T16:05:43.995" v="176"/>
              <pc2:cmMkLst xmlns:pc2="http://schemas.microsoft.com/office/powerpoint/2019/9/main/command">
                <pc:docMk/>
                <pc:sldMk cId="1800313876" sldId="2147471256"/>
                <pc2:cmMk id="{1DAE8F5B-0AB7-40CB-BC2D-1BDCBDBECAAC}"/>
              </pc2:cmMkLst>
              <pc226:cmRplyChg chg="add">
                <pc226:chgData name="Miguel Brante Contreras" userId="753113ee-b42f-44ed-a66b-ca2d22867691" providerId="ADAL" clId="{62F96067-3832-416C-9677-38572190C442}" dt="2023-12-11T16:05:43.995" v="176"/>
                <pc2:cmRplyMkLst xmlns:pc2="http://schemas.microsoft.com/office/powerpoint/2019/9/main/command">
                  <pc:docMk/>
                  <pc:sldMk cId="1800313876" sldId="2147471256"/>
                  <pc2:cmMk id="{1DAE8F5B-0AB7-40CB-BC2D-1BDCBDBECAAC}"/>
                  <pc2:cmRplyMk id="{992F2928-604C-4B90-9E36-8B986A326885}"/>
                </pc2:cmRplyMkLst>
              </pc226:cmRplyChg>
            </pc226:cmChg>
          </p:ext>
        </pc:extLst>
      </pc:sldChg>
      <pc:sldChg chg="addSp delSp modSp mod setBg">
        <pc:chgData name="Miguel Brante Contreras" userId="753113ee-b42f-44ed-a66b-ca2d22867691" providerId="ADAL" clId="{62F96067-3832-416C-9677-38572190C442}" dt="2023-12-11T18:56:06.529" v="179" actId="108"/>
        <pc:sldMkLst>
          <pc:docMk/>
          <pc:sldMk cId="727067092" sldId="2147471260"/>
        </pc:sldMkLst>
        <pc:graphicFrameChg chg="mod modGraphic">
          <ac:chgData name="Miguel Brante Contreras" userId="753113ee-b42f-44ed-a66b-ca2d22867691" providerId="ADAL" clId="{62F96067-3832-416C-9677-38572190C442}" dt="2023-12-11T15:04:05.741" v="109" actId="255"/>
          <ac:graphicFrameMkLst>
            <pc:docMk/>
            <pc:sldMk cId="727067092" sldId="2147471260"/>
            <ac:graphicFrameMk id="2" creationId="{792BD675-9F69-674D-DCBE-62CA5706E06F}"/>
          </ac:graphicFrameMkLst>
        </pc:graphicFrameChg>
        <pc:graphicFrameChg chg="mod modGraphic">
          <ac:chgData name="Miguel Brante Contreras" userId="753113ee-b42f-44ed-a66b-ca2d22867691" providerId="ADAL" clId="{62F96067-3832-416C-9677-38572190C442}" dt="2023-12-11T18:56:06.529" v="179" actId="108"/>
          <ac:graphicFrameMkLst>
            <pc:docMk/>
            <pc:sldMk cId="727067092" sldId="2147471260"/>
            <ac:graphicFrameMk id="4" creationId="{2DD0B1E3-800E-8BD9-64EC-34326D6886D7}"/>
          </ac:graphicFrameMkLst>
        </pc:graphicFrameChg>
        <pc:graphicFrameChg chg="add mod modGraphic">
          <ac:chgData name="Miguel Brante Contreras" userId="753113ee-b42f-44ed-a66b-ca2d22867691" providerId="ADAL" clId="{62F96067-3832-416C-9677-38572190C442}" dt="2023-12-11T15:04:11.286" v="110" actId="255"/>
          <ac:graphicFrameMkLst>
            <pc:docMk/>
            <pc:sldMk cId="727067092" sldId="2147471260"/>
            <ac:graphicFrameMk id="6" creationId="{E0F41273-9EF2-3555-7EA8-82BBDF26744C}"/>
          </ac:graphicFrameMkLst>
        </pc:graphicFrameChg>
        <pc:graphicFrameChg chg="mod modGraphic">
          <ac:chgData name="Miguel Brante Contreras" userId="753113ee-b42f-44ed-a66b-ca2d22867691" providerId="ADAL" clId="{62F96067-3832-416C-9677-38572190C442}" dt="2023-12-11T16:01:36.871" v="140" actId="2165"/>
          <ac:graphicFrameMkLst>
            <pc:docMk/>
            <pc:sldMk cId="727067092" sldId="2147471260"/>
            <ac:graphicFrameMk id="14" creationId="{912526FA-C5EF-D8A1-E816-EFECB5624A1D}"/>
          </ac:graphicFrameMkLst>
        </pc:graphicFrameChg>
        <pc:graphicFrameChg chg="del mod modGraphic">
          <ac:chgData name="Miguel Brante Contreras" userId="753113ee-b42f-44ed-a66b-ca2d22867691" providerId="ADAL" clId="{62F96067-3832-416C-9677-38572190C442}" dt="2023-12-11T14:56:15.726" v="49" actId="478"/>
          <ac:graphicFrameMkLst>
            <pc:docMk/>
            <pc:sldMk cId="727067092" sldId="2147471260"/>
            <ac:graphicFrameMk id="15" creationId="{DE9F74D8-1B02-DF08-FC0D-81AD0780257A}"/>
          </ac:graphicFrameMkLst>
        </pc:graphicFrameChg>
      </pc:sldChg>
    </pc:docChg>
  </pc:docChgLst>
  <pc:docChgLst>
    <pc:chgData name="Camila Ureta Retamal" userId="9e43d308-f9b9-424e-930e-4fecdfda30a4" providerId="ADAL" clId="{09CEBAF6-0150-4770-BB78-95B73C7A2DD4}"/>
    <pc:docChg chg="custSel addSld modSld">
      <pc:chgData name="Camila Ureta Retamal" userId="9e43d308-f9b9-424e-930e-4fecdfda30a4" providerId="ADAL" clId="{09CEBAF6-0150-4770-BB78-95B73C7A2DD4}" dt="2023-12-10T02:46:16.189" v="764" actId="120"/>
      <pc:docMkLst>
        <pc:docMk/>
      </pc:docMkLst>
      <pc:sldChg chg="delSp modSp mod modCm">
        <pc:chgData name="Camila Ureta Retamal" userId="9e43d308-f9b9-424e-930e-4fecdfda30a4" providerId="ADAL" clId="{09CEBAF6-0150-4770-BB78-95B73C7A2DD4}" dt="2023-12-10T02:44:13.380" v="662" actId="20577"/>
        <pc:sldMkLst>
          <pc:docMk/>
          <pc:sldMk cId="4279748001" sldId="302"/>
        </pc:sldMkLst>
        <pc:spChg chg="mod">
          <ac:chgData name="Camila Ureta Retamal" userId="9e43d308-f9b9-424e-930e-4fecdfda30a4" providerId="ADAL" clId="{09CEBAF6-0150-4770-BB78-95B73C7A2DD4}" dt="2023-12-10T02:44:13.380" v="662" actId="20577"/>
          <ac:spMkLst>
            <pc:docMk/>
            <pc:sldMk cId="4279748001" sldId="302"/>
            <ac:spMk id="3" creationId="{00000000-0000-0000-0000-000000000000}"/>
          </ac:spMkLst>
        </pc:spChg>
        <pc:graphicFrameChg chg="del">
          <ac:chgData name="Camila Ureta Retamal" userId="9e43d308-f9b9-424e-930e-4fecdfda30a4" providerId="ADAL" clId="{09CEBAF6-0150-4770-BB78-95B73C7A2DD4}" dt="2023-12-10T02:36:34.481" v="164" actId="478"/>
          <ac:graphicFrameMkLst>
            <pc:docMk/>
            <pc:sldMk cId="4279748001" sldId="302"/>
            <ac:graphicFrameMk id="9" creationId="{6049B724-A37F-D3C2-3B53-1E260A1416DA}"/>
          </ac:graphicFrameMkLst>
        </pc:graphicFrameChg>
        <pc:extLst>
          <p:ext xmlns:p="http://schemas.openxmlformats.org/presentationml/2006/main" uri="{D6D511B9-2390-475A-947B-AFAB55BFBCF1}">
            <pc226:cmChg xmlns:pc226="http://schemas.microsoft.com/office/powerpoint/2022/06/main/command" chg="mod">
              <pc226:chgData name="Camila Ureta Retamal" userId="9e43d308-f9b9-424e-930e-4fecdfda30a4" providerId="ADAL" clId="{09CEBAF6-0150-4770-BB78-95B73C7A2DD4}" dt="2023-12-10T02:44:13.380" v="662" actId="20577"/>
              <pc2:cmMkLst xmlns:pc2="http://schemas.microsoft.com/office/powerpoint/2019/9/main/command">
                <pc:docMk/>
                <pc:sldMk cId="4279748001" sldId="302"/>
                <pc2:cmMk id="{E427E80D-03EC-4B83-9304-48BCA48313CE}"/>
              </pc2:cmMkLst>
            </pc226:cmChg>
            <pc226:cmChg xmlns:pc226="http://schemas.microsoft.com/office/powerpoint/2022/06/main/command" chg="mod">
              <pc226:chgData name="Camila Ureta Retamal" userId="9e43d308-f9b9-424e-930e-4fecdfda30a4" providerId="ADAL" clId="{09CEBAF6-0150-4770-BB78-95B73C7A2DD4}" dt="2023-12-10T02:44:13.380" v="662" actId="20577"/>
              <pc2:cmMkLst xmlns:pc2="http://schemas.microsoft.com/office/powerpoint/2019/9/main/command">
                <pc:docMk/>
                <pc:sldMk cId="4279748001" sldId="302"/>
                <pc2:cmMk id="{FB8F51DA-4259-450E-9380-063F15D45C17}"/>
              </pc2:cmMkLst>
            </pc226:cmChg>
          </p:ext>
        </pc:extLst>
      </pc:sldChg>
      <pc:sldChg chg="modSp add mod modCm">
        <pc:chgData name="Camila Ureta Retamal" userId="9e43d308-f9b9-424e-930e-4fecdfda30a4" providerId="ADAL" clId="{09CEBAF6-0150-4770-BB78-95B73C7A2DD4}" dt="2023-12-10T02:46:16.189" v="764" actId="120"/>
        <pc:sldMkLst>
          <pc:docMk/>
          <pc:sldMk cId="905669304" sldId="2147471257"/>
        </pc:sldMkLst>
        <pc:spChg chg="mod">
          <ac:chgData name="Camila Ureta Retamal" userId="9e43d308-f9b9-424e-930e-4fecdfda30a4" providerId="ADAL" clId="{09CEBAF6-0150-4770-BB78-95B73C7A2DD4}" dt="2023-12-10T02:37:55.612" v="275" actId="20577"/>
          <ac:spMkLst>
            <pc:docMk/>
            <pc:sldMk cId="905669304" sldId="2147471257"/>
            <ac:spMk id="3" creationId="{00000000-0000-0000-0000-000000000000}"/>
          </ac:spMkLst>
        </pc:spChg>
        <pc:graphicFrameChg chg="mod modGraphic">
          <ac:chgData name="Camila Ureta Retamal" userId="9e43d308-f9b9-424e-930e-4fecdfda30a4" providerId="ADAL" clId="{09CEBAF6-0150-4770-BB78-95B73C7A2DD4}" dt="2023-12-10T02:46:16.189" v="764" actId="120"/>
          <ac:graphicFrameMkLst>
            <pc:docMk/>
            <pc:sldMk cId="905669304" sldId="2147471257"/>
            <ac:graphicFrameMk id="9" creationId="{6049B724-A37F-D3C2-3B53-1E260A1416DA}"/>
          </ac:graphicFrameMkLst>
        </pc:graphicFrameChg>
        <pc:extLst>
          <p:ext xmlns:p="http://schemas.openxmlformats.org/presentationml/2006/main" uri="{D6D511B9-2390-475A-947B-AFAB55BFBCF1}">
            <pc226:cmChg xmlns:pc226="http://schemas.microsoft.com/office/powerpoint/2022/06/main/command" chg="mod">
              <pc226:chgData name="Camila Ureta Retamal" userId="9e43d308-f9b9-424e-930e-4fecdfda30a4" providerId="ADAL" clId="{09CEBAF6-0150-4770-BB78-95B73C7A2DD4}" dt="2023-12-10T02:37:55.612" v="275" actId="20577"/>
              <pc2:cmMkLst xmlns:pc2="http://schemas.microsoft.com/office/powerpoint/2019/9/main/command">
                <pc:docMk/>
                <pc:sldMk cId="905669304" sldId="2147471257"/>
                <pc2:cmMk id="{A47D6C62-7264-4830-8EC4-2CA07562AFDD}"/>
              </pc2:cmMkLst>
              <pc226:cmRplyChg chg="add">
                <pc226:chgData name="Camila Ureta Retamal" userId="9e43d308-f9b9-424e-930e-4fecdfda30a4" providerId="ADAL" clId="{09CEBAF6-0150-4770-BB78-95B73C7A2DD4}" dt="2023-12-10T02:35:06.693" v="149"/>
                <pc2:cmRplyMkLst xmlns:pc2="http://schemas.microsoft.com/office/powerpoint/2019/9/main/command">
                  <pc:docMk/>
                  <pc:sldMk cId="905669304" sldId="2147471257"/>
                  <pc2:cmMk id="{A47D6C62-7264-4830-8EC4-2CA07562AFDD}"/>
                  <pc2:cmRplyMk id="{90E4B966-07C8-4212-8590-D86291E26E3B}"/>
                </pc2:cmRplyMkLst>
              </pc226:cmRplyChg>
            </pc226:cmChg>
            <pc226:cmChg xmlns:pc226="http://schemas.microsoft.com/office/powerpoint/2022/06/main/command" chg="mod">
              <pc226:chgData name="Camila Ureta Retamal" userId="9e43d308-f9b9-424e-930e-4fecdfda30a4" providerId="ADAL" clId="{09CEBAF6-0150-4770-BB78-95B73C7A2DD4}" dt="2023-12-10T02:37:55.612" v="275" actId="20577"/>
              <pc2:cmMkLst xmlns:pc2="http://schemas.microsoft.com/office/powerpoint/2019/9/main/command">
                <pc:docMk/>
                <pc:sldMk cId="905669304" sldId="2147471257"/>
                <pc2:cmMk id="{BB051470-6B4C-4E92-BF0E-93C19957AC30}"/>
              </pc2:cmMkLst>
            </pc226:cmChg>
          </p:ext>
        </pc:extLst>
      </pc:sldChg>
    </pc:docChg>
  </pc:docChgLst>
  <pc:docChgLst>
    <pc:chgData name="Tania Hernández J" userId="addba336-7181-437c-9483-cb0541d012b2" providerId="ADAL" clId="{1F2D7223-0A9F-4263-90A5-62B0B8E2D6F1}"/>
    <pc:docChg chg="undo redo custSel modSld">
      <pc:chgData name="Tania Hernández J" userId="addba336-7181-437c-9483-cb0541d012b2" providerId="ADAL" clId="{1F2D7223-0A9F-4263-90A5-62B0B8E2D6F1}" dt="2023-12-11T20:00:24.330" v="81" actId="20577"/>
      <pc:docMkLst>
        <pc:docMk/>
      </pc:docMkLst>
      <pc:sldChg chg="modSp mod">
        <pc:chgData name="Tania Hernández J" userId="addba336-7181-437c-9483-cb0541d012b2" providerId="ADAL" clId="{1F2D7223-0A9F-4263-90A5-62B0B8E2D6F1}" dt="2023-12-11T19:57:33.909" v="43" actId="20577"/>
        <pc:sldMkLst>
          <pc:docMk/>
          <pc:sldMk cId="2006891235" sldId="2147471245"/>
        </pc:sldMkLst>
        <pc:spChg chg="mod">
          <ac:chgData name="Tania Hernández J" userId="addba336-7181-437c-9483-cb0541d012b2" providerId="ADAL" clId="{1F2D7223-0A9F-4263-90A5-62B0B8E2D6F1}" dt="2023-12-11T19:57:33.909" v="43" actId="20577"/>
          <ac:spMkLst>
            <pc:docMk/>
            <pc:sldMk cId="2006891235" sldId="2147471245"/>
            <ac:spMk id="3" creationId="{00000000-0000-0000-0000-000000000000}"/>
          </ac:spMkLst>
        </pc:spChg>
      </pc:sldChg>
      <pc:sldChg chg="modSp mod">
        <pc:chgData name="Tania Hernández J" userId="addba336-7181-437c-9483-cb0541d012b2" providerId="ADAL" clId="{1F2D7223-0A9F-4263-90A5-62B0B8E2D6F1}" dt="2023-12-11T20:00:24.330" v="81" actId="20577"/>
        <pc:sldMkLst>
          <pc:docMk/>
          <pc:sldMk cId="1988382518" sldId="2147471251"/>
        </pc:sldMkLst>
        <pc:spChg chg="mod">
          <ac:chgData name="Tania Hernández J" userId="addba336-7181-437c-9483-cb0541d012b2" providerId="ADAL" clId="{1F2D7223-0A9F-4263-90A5-62B0B8E2D6F1}" dt="2023-12-11T20:00:24.330" v="81" actId="20577"/>
          <ac:spMkLst>
            <pc:docMk/>
            <pc:sldMk cId="1988382518" sldId="2147471251"/>
            <ac:spMk id="3" creationId="{00000000-0000-0000-0000-000000000000}"/>
          </ac:spMkLst>
        </pc:spChg>
      </pc:sldChg>
      <pc:sldChg chg="modCm">
        <pc:chgData name="Tania Hernández J" userId="addba336-7181-437c-9483-cb0541d012b2" providerId="ADAL" clId="{1F2D7223-0A9F-4263-90A5-62B0B8E2D6F1}" dt="2023-12-11T19:12:20.461" v="0"/>
        <pc:sldMkLst>
          <pc:docMk/>
          <pc:sldMk cId="2951709829" sldId="2147471258"/>
        </pc:sldMkLst>
        <pc:extLst>
          <p:ext xmlns:p="http://schemas.openxmlformats.org/presentationml/2006/main" uri="{D6D511B9-2390-475A-947B-AFAB55BFBCF1}">
            <pc226:cmChg xmlns:pc226="http://schemas.microsoft.com/office/powerpoint/2022/06/main/command" chg="mod">
              <pc226:chgData name="Tania Hernández J" userId="addba336-7181-437c-9483-cb0541d012b2" providerId="ADAL" clId="{1F2D7223-0A9F-4263-90A5-62B0B8E2D6F1}" dt="2023-12-11T19:12:20.461" v="0"/>
              <pc2:cmMkLst xmlns:pc2="http://schemas.microsoft.com/office/powerpoint/2019/9/main/command">
                <pc:docMk/>
                <pc:sldMk cId="2951709829" sldId="2147471258"/>
                <pc2:cmMk id="{B8E109F8-D70B-4F98-A4EF-A36014C630FE}"/>
              </pc2:cmMkLst>
            </pc226:cmChg>
          </p:ext>
        </pc:extLst>
      </pc:sldChg>
      <pc:sldChg chg="modSp mod">
        <pc:chgData name="Tania Hernández J" userId="addba336-7181-437c-9483-cb0541d012b2" providerId="ADAL" clId="{1F2D7223-0A9F-4263-90A5-62B0B8E2D6F1}" dt="2023-12-11T19:57:49.316" v="62" actId="20577"/>
        <pc:sldMkLst>
          <pc:docMk/>
          <pc:sldMk cId="3126906573" sldId="2147471262"/>
        </pc:sldMkLst>
        <pc:spChg chg="mod">
          <ac:chgData name="Tania Hernández J" userId="addba336-7181-437c-9483-cb0541d012b2" providerId="ADAL" clId="{1F2D7223-0A9F-4263-90A5-62B0B8E2D6F1}" dt="2023-12-11T19:57:49.316" v="62" actId="20577"/>
          <ac:spMkLst>
            <pc:docMk/>
            <pc:sldMk cId="3126906573" sldId="2147471262"/>
            <ac:spMk id="3" creationId="{00000000-0000-0000-0000-000000000000}"/>
          </ac:spMkLst>
        </pc:spChg>
      </pc:sldChg>
    </pc:docChg>
  </pc:docChgLst>
  <pc:docChgLst>
    <pc:chgData name="Matías Contreras Figueroa" userId="c7e19c49-a152-4351-94ae-4d6302d713f0" providerId="ADAL" clId="{C187185D-5A98-4EEB-894B-0CD8179B8D7B}"/>
    <pc:docChg chg="custSel modSld">
      <pc:chgData name="Matías Contreras Figueroa" userId="c7e19c49-a152-4351-94ae-4d6302d713f0" providerId="ADAL" clId="{C187185D-5A98-4EEB-894B-0CD8179B8D7B}" dt="2023-12-11T13:03:27.929" v="44" actId="20577"/>
      <pc:docMkLst>
        <pc:docMk/>
      </pc:docMkLst>
      <pc:sldChg chg="addSp delSp modSp mod">
        <pc:chgData name="Matías Contreras Figueroa" userId="c7e19c49-a152-4351-94ae-4d6302d713f0" providerId="ADAL" clId="{C187185D-5A98-4EEB-894B-0CD8179B8D7B}" dt="2023-12-11T13:03:27.929" v="44" actId="20577"/>
        <pc:sldMkLst>
          <pc:docMk/>
          <pc:sldMk cId="3271780845" sldId="10403"/>
        </pc:sldMkLst>
        <pc:spChg chg="mod">
          <ac:chgData name="Matías Contreras Figueroa" userId="c7e19c49-a152-4351-94ae-4d6302d713f0" providerId="ADAL" clId="{C187185D-5A98-4EEB-894B-0CD8179B8D7B}" dt="2023-12-11T13:03:27.929" v="44" actId="20577"/>
          <ac:spMkLst>
            <pc:docMk/>
            <pc:sldMk cId="3271780845" sldId="10403"/>
            <ac:spMk id="8" creationId="{475EA3C9-3F03-3CA4-FC58-5E2F3FA20896}"/>
          </ac:spMkLst>
        </pc:spChg>
        <pc:graphicFrameChg chg="del">
          <ac:chgData name="Matías Contreras Figueroa" userId="c7e19c49-a152-4351-94ae-4d6302d713f0" providerId="ADAL" clId="{C187185D-5A98-4EEB-894B-0CD8179B8D7B}" dt="2023-12-11T12:51:20.017" v="0" actId="478"/>
          <ac:graphicFrameMkLst>
            <pc:docMk/>
            <pc:sldMk cId="3271780845" sldId="10403"/>
            <ac:graphicFrameMk id="2" creationId="{92362829-9C77-D772-26C6-5D3D9C236A5C}"/>
          </ac:graphicFrameMkLst>
        </pc:graphicFrameChg>
        <pc:graphicFrameChg chg="add mod">
          <ac:chgData name="Matías Contreras Figueroa" userId="c7e19c49-a152-4351-94ae-4d6302d713f0" providerId="ADAL" clId="{C187185D-5A98-4EEB-894B-0CD8179B8D7B}" dt="2023-12-11T13:01:31.231" v="8" actId="113"/>
          <ac:graphicFrameMkLst>
            <pc:docMk/>
            <pc:sldMk cId="3271780845" sldId="10403"/>
            <ac:graphicFrameMk id="4" creationId="{22006101-9E8C-AF6E-8186-1C5F5FFEEA42}"/>
          </ac:graphicFrameMkLst>
        </pc:graphicFrameChg>
      </pc:sldChg>
    </pc:docChg>
  </pc:docChgLst>
  <pc:docChgLst>
    <pc:chgData name="Camila Ureta Retamal" userId="S::cureta@dipres.gob.cl::9e43d308-f9b9-424e-930e-4fecdfda30a4" providerId="AD" clId="Web-{92958F13-961F-4C92-AA00-5F5A4C3C348B}"/>
    <pc:docChg chg="modSld">
      <pc:chgData name="Camila Ureta Retamal" userId="S::cureta@dipres.gob.cl::9e43d308-f9b9-424e-930e-4fecdfda30a4" providerId="AD" clId="Web-{92958F13-961F-4C92-AA00-5F5A4C3C348B}" dt="2023-12-11T14:21:36.015" v="52" actId="20577"/>
      <pc:docMkLst>
        <pc:docMk/>
      </pc:docMkLst>
      <pc:sldChg chg="modSp modCm">
        <pc:chgData name="Camila Ureta Retamal" userId="S::cureta@dipres.gob.cl::9e43d308-f9b9-424e-930e-4fecdfda30a4" providerId="AD" clId="Web-{92958F13-961F-4C92-AA00-5F5A4C3C348B}" dt="2023-12-11T14:21:36.015" v="52" actId="20577"/>
        <pc:sldMkLst>
          <pc:docMk/>
          <pc:sldMk cId="4279748001" sldId="302"/>
        </pc:sldMkLst>
        <pc:spChg chg="mod">
          <ac:chgData name="Camila Ureta Retamal" userId="S::cureta@dipres.gob.cl::9e43d308-f9b9-424e-930e-4fecdfda30a4" providerId="AD" clId="Web-{92958F13-961F-4C92-AA00-5F5A4C3C348B}" dt="2023-12-11T14:21:36.015" v="52" actId="20577"/>
          <ac:spMkLst>
            <pc:docMk/>
            <pc:sldMk cId="4279748001" sldId="302"/>
            <ac:spMk id="3" creationId="{00000000-0000-0000-0000-000000000000}"/>
          </ac:spMkLst>
        </pc:spChg>
        <pc:extLst>
          <p:ext xmlns:p="http://schemas.openxmlformats.org/presentationml/2006/main" uri="{D6D511B9-2390-475A-947B-AFAB55BFBCF1}">
            <pc226:cmChg xmlns:pc226="http://schemas.microsoft.com/office/powerpoint/2022/06/main/command" chg="mod">
              <pc226:chgData name="Camila Ureta Retamal" userId="S::cureta@dipres.gob.cl::9e43d308-f9b9-424e-930e-4fecdfda30a4" providerId="AD" clId="Web-{92958F13-961F-4C92-AA00-5F5A4C3C348B}" dt="2023-12-11T14:18:52.058" v="50" actId="20577"/>
              <pc2:cmMkLst xmlns:pc2="http://schemas.microsoft.com/office/powerpoint/2019/9/main/command">
                <pc:docMk/>
                <pc:sldMk cId="4279748001" sldId="302"/>
                <pc2:cmMk id="{E427E80D-03EC-4B83-9304-48BCA48313CE}"/>
              </pc2:cmMkLst>
            </pc226:cmChg>
            <pc226:cmChg xmlns:pc226="http://schemas.microsoft.com/office/powerpoint/2022/06/main/command" chg="mod">
              <pc226:chgData name="Camila Ureta Retamal" userId="S::cureta@dipres.gob.cl::9e43d308-f9b9-424e-930e-4fecdfda30a4" providerId="AD" clId="Web-{92958F13-961F-4C92-AA00-5F5A4C3C348B}" dt="2023-12-11T14:19:01.886" v="51"/>
              <pc2:cmMkLst xmlns:pc2="http://schemas.microsoft.com/office/powerpoint/2019/9/main/command">
                <pc:docMk/>
                <pc:sldMk cId="4279748001" sldId="302"/>
                <pc2:cmMk id="{4330354C-1772-4DDA-897B-FADF92902E74}"/>
              </pc2:cmMkLst>
              <pc226:cmRplyChg chg="add">
                <pc226:chgData name="Camila Ureta Retamal" userId="S::cureta@dipres.gob.cl::9e43d308-f9b9-424e-930e-4fecdfda30a4" providerId="AD" clId="Web-{92958F13-961F-4C92-AA00-5F5A4C3C348B}" dt="2023-12-11T14:19:01.886" v="51"/>
                <pc2:cmRplyMkLst xmlns:pc2="http://schemas.microsoft.com/office/powerpoint/2019/9/main/command">
                  <pc:docMk/>
                  <pc:sldMk cId="4279748001" sldId="302"/>
                  <pc2:cmMk id="{4330354C-1772-4DDA-897B-FADF92902E74}"/>
                  <pc2:cmRplyMk id="{40F0D75E-1A56-4134-B67D-3CFE5CF597BD}"/>
                </pc2:cmRplyMkLst>
              </pc226:cmRplyChg>
            </pc226:cmChg>
          </p:ext>
        </pc:extLst>
      </pc:sldChg>
      <pc:sldChg chg="modSp modCm">
        <pc:chgData name="Camila Ureta Retamal" userId="S::cureta@dipres.gob.cl::9e43d308-f9b9-424e-930e-4fecdfda30a4" providerId="AD" clId="Web-{92958F13-961F-4C92-AA00-5F5A4C3C348B}" dt="2023-12-11T14:15:35.507" v="5" actId="20577"/>
        <pc:sldMkLst>
          <pc:docMk/>
          <pc:sldMk cId="905669304" sldId="2147471257"/>
        </pc:sldMkLst>
        <pc:spChg chg="mod">
          <ac:chgData name="Camila Ureta Retamal" userId="S::cureta@dipres.gob.cl::9e43d308-f9b9-424e-930e-4fecdfda30a4" providerId="AD" clId="Web-{92958F13-961F-4C92-AA00-5F5A4C3C348B}" dt="2023-12-11T14:15:35.507" v="5" actId="20577"/>
          <ac:spMkLst>
            <pc:docMk/>
            <pc:sldMk cId="905669304" sldId="2147471257"/>
            <ac:spMk id="3" creationId="{00000000-0000-0000-0000-000000000000}"/>
          </ac:spMkLst>
        </pc:spChg>
        <pc:graphicFrameChg chg="mod modGraphic">
          <ac:chgData name="Camila Ureta Retamal" userId="S::cureta@dipres.gob.cl::9e43d308-f9b9-424e-930e-4fecdfda30a4" providerId="AD" clId="Web-{92958F13-961F-4C92-AA00-5F5A4C3C348B}" dt="2023-12-11T14:06:18.682" v="1"/>
          <ac:graphicFrameMkLst>
            <pc:docMk/>
            <pc:sldMk cId="905669304" sldId="2147471257"/>
            <ac:graphicFrameMk id="9" creationId="{6049B724-A37F-D3C2-3B53-1E260A1416DA}"/>
          </ac:graphicFrameMkLst>
        </pc:graphicFrameChg>
        <pc:extLst>
          <p:ext xmlns:p="http://schemas.openxmlformats.org/presentationml/2006/main" uri="{D6D511B9-2390-475A-947B-AFAB55BFBCF1}">
            <pc226:cmChg xmlns:pc226="http://schemas.microsoft.com/office/powerpoint/2022/06/main/command" chg="mod">
              <pc226:chgData name="Camila Ureta Retamal" userId="S::cureta@dipres.gob.cl::9e43d308-f9b9-424e-930e-4fecdfda30a4" providerId="AD" clId="Web-{92958F13-961F-4C92-AA00-5F5A4C3C348B}" dt="2023-12-11T14:09:26.749" v="4" actId="20577"/>
              <pc2:cmMkLst xmlns:pc2="http://schemas.microsoft.com/office/powerpoint/2019/9/main/command">
                <pc:docMk/>
                <pc:sldMk cId="905669304" sldId="2147471257"/>
                <pc2:cmMk id="{BB051470-6B4C-4E92-BF0E-93C19957AC30}"/>
              </pc2:cmMkLst>
            </pc226:cmChg>
          </p:ext>
        </pc:extLst>
      </pc:sldChg>
    </pc:docChg>
  </pc:docChgLst>
  <pc:docChgLst>
    <pc:chgData name="Pablo Jorquera Armijo" userId="748fa91a-1513-4e73-b7d0-a531ef377bd1" providerId="ADAL" clId="{60179218-B70C-4D12-A09E-1BB385B297CD}"/>
    <pc:docChg chg="undo redo custSel addSld delSld modSld sldOrd">
      <pc:chgData name="Pablo Jorquera Armijo" userId="748fa91a-1513-4e73-b7d0-a531ef377bd1" providerId="ADAL" clId="{60179218-B70C-4D12-A09E-1BB385B297CD}" dt="2023-12-11T19:17:49.382" v="1694"/>
      <pc:docMkLst>
        <pc:docMk/>
      </pc:docMkLst>
      <pc:sldChg chg="delCm modCm">
        <pc:chgData name="Pablo Jorquera Armijo" userId="748fa91a-1513-4e73-b7d0-a531ef377bd1" providerId="ADAL" clId="{60179218-B70C-4D12-A09E-1BB385B297CD}" dt="2023-12-11T18:05:55.410" v="1677"/>
        <pc:sldMkLst>
          <pc:docMk/>
          <pc:sldMk cId="3868216601" sldId="258"/>
        </pc:sldMkLst>
        <pc:extLst>
          <p:ext xmlns:p="http://schemas.openxmlformats.org/presentationml/2006/main" uri="{D6D511B9-2390-475A-947B-AFAB55BFBCF1}">
            <pc226:cmChg xmlns:pc226="http://schemas.microsoft.com/office/powerpoint/2022/06/main/command" chg="del">
              <pc226:chgData name="Pablo Jorquera Armijo" userId="748fa91a-1513-4e73-b7d0-a531ef377bd1" providerId="ADAL" clId="{60179218-B70C-4D12-A09E-1BB385B297CD}" dt="2023-12-11T18:05:55.410" v="1677"/>
              <pc2:cmMkLst xmlns:pc2="http://schemas.microsoft.com/office/powerpoint/2019/9/main/command">
                <pc:docMk/>
                <pc:sldMk cId="3868216601" sldId="258"/>
                <pc2:cmMk id="{F57E2491-3AAC-4483-9C85-7C2B7B044240}"/>
              </pc2:cmMkLst>
              <pc226:cmRplyChg chg="add">
                <pc226:chgData name="Pablo Jorquera Armijo" userId="748fa91a-1513-4e73-b7d0-a531ef377bd1" providerId="ADAL" clId="{60179218-B70C-4D12-A09E-1BB385B297CD}" dt="2023-12-11T18:03:52.992" v="1649"/>
                <pc2:cmRplyMkLst xmlns:pc2="http://schemas.microsoft.com/office/powerpoint/2019/9/main/command">
                  <pc:docMk/>
                  <pc:sldMk cId="3868216601" sldId="258"/>
                  <pc2:cmMk id="{F57E2491-3AAC-4483-9C85-7C2B7B044240}"/>
                  <pc2:cmRplyMk id="{34C9C7ED-18BF-4D59-A45A-4A9D020C9FD6}"/>
                </pc2:cmRplyMkLst>
              </pc226:cmRplyChg>
            </pc226:cmChg>
          </p:ext>
        </pc:extLst>
      </pc:sldChg>
      <pc:sldChg chg="modSp mod">
        <pc:chgData name="Pablo Jorquera Armijo" userId="748fa91a-1513-4e73-b7d0-a531ef377bd1" providerId="ADAL" clId="{60179218-B70C-4D12-A09E-1BB385B297CD}" dt="2023-12-11T18:05:27.215" v="1667" actId="20577"/>
        <pc:sldMkLst>
          <pc:docMk/>
          <pc:sldMk cId="3836789641" sldId="262"/>
        </pc:sldMkLst>
        <pc:spChg chg="mod">
          <ac:chgData name="Pablo Jorquera Armijo" userId="748fa91a-1513-4e73-b7d0-a531ef377bd1" providerId="ADAL" clId="{60179218-B70C-4D12-A09E-1BB385B297CD}" dt="2023-12-11T18:05:27.215" v="1667" actId="20577"/>
          <ac:spMkLst>
            <pc:docMk/>
            <pc:sldMk cId="3836789641" sldId="262"/>
            <ac:spMk id="8" creationId="{A8D67202-1888-4DCF-8E69-1CAD61C6FA27}"/>
          </ac:spMkLst>
        </pc:spChg>
      </pc:sldChg>
      <pc:sldChg chg="modAnim">
        <pc:chgData name="Pablo Jorquera Armijo" userId="748fa91a-1513-4e73-b7d0-a531ef377bd1" providerId="ADAL" clId="{60179218-B70C-4D12-A09E-1BB385B297CD}" dt="2023-12-11T19:15:08.855" v="1684"/>
        <pc:sldMkLst>
          <pc:docMk/>
          <pc:sldMk cId="877613551" sldId="276"/>
        </pc:sldMkLst>
      </pc:sldChg>
      <pc:sldChg chg="modSp mod">
        <pc:chgData name="Pablo Jorquera Armijo" userId="748fa91a-1513-4e73-b7d0-a531ef377bd1" providerId="ADAL" clId="{60179218-B70C-4D12-A09E-1BB385B297CD}" dt="2023-12-10T16:15:14.532" v="807" actId="207"/>
        <pc:sldMkLst>
          <pc:docMk/>
          <pc:sldMk cId="2684714154" sldId="279"/>
        </pc:sldMkLst>
        <pc:spChg chg="mod">
          <ac:chgData name="Pablo Jorquera Armijo" userId="748fa91a-1513-4e73-b7d0-a531ef377bd1" providerId="ADAL" clId="{60179218-B70C-4D12-A09E-1BB385B297CD}" dt="2023-12-10T16:15:14.532" v="807" actId="207"/>
          <ac:spMkLst>
            <pc:docMk/>
            <pc:sldMk cId="2684714154" sldId="279"/>
            <ac:spMk id="4" creationId="{FD1F2BED-BD52-6E3E-D692-EBCACDA8ABA4}"/>
          </ac:spMkLst>
        </pc:spChg>
      </pc:sldChg>
      <pc:sldChg chg="modSp mod delCm modCm">
        <pc:chgData name="Pablo Jorquera Armijo" userId="748fa91a-1513-4e73-b7d0-a531ef377bd1" providerId="ADAL" clId="{60179218-B70C-4D12-A09E-1BB385B297CD}" dt="2023-12-11T19:17:49.382" v="1694"/>
        <pc:sldMkLst>
          <pc:docMk/>
          <pc:sldMk cId="1286877226" sldId="282"/>
        </pc:sldMkLst>
        <pc:spChg chg="mod">
          <ac:chgData name="Pablo Jorquera Armijo" userId="748fa91a-1513-4e73-b7d0-a531ef377bd1" providerId="ADAL" clId="{60179218-B70C-4D12-A09E-1BB385B297CD}" dt="2023-12-11T17:47:30.287" v="1624" actId="948"/>
          <ac:spMkLst>
            <pc:docMk/>
            <pc:sldMk cId="1286877226" sldId="282"/>
            <ac:spMk id="3" creationId="{00000000-0000-0000-0000-000000000000}"/>
          </ac:spMkLst>
        </pc:spChg>
        <pc:extLst>
          <p:ext xmlns:p="http://schemas.openxmlformats.org/presentationml/2006/main" uri="{D6D511B9-2390-475A-947B-AFAB55BFBCF1}">
            <pc226:cmChg xmlns:pc226="http://schemas.microsoft.com/office/powerpoint/2022/06/main/command" chg="del">
              <pc226:chgData name="Pablo Jorquera Armijo" userId="748fa91a-1513-4e73-b7d0-a531ef377bd1" providerId="ADAL" clId="{60179218-B70C-4D12-A09E-1BB385B297CD}" dt="2023-12-10T16:04:23.430" v="593"/>
              <pc2:cmMkLst xmlns:pc2="http://schemas.microsoft.com/office/powerpoint/2019/9/main/command">
                <pc:docMk/>
                <pc:sldMk cId="1286877226" sldId="282"/>
                <pc2:cmMk id="{BCFFEC29-587B-48C8-81EE-7BE9D600AB15}"/>
              </pc2:cmMkLst>
            </pc226:cmChg>
            <pc226:cmChg xmlns:pc226="http://schemas.microsoft.com/office/powerpoint/2022/06/main/command" chg="del mod modTsk">
              <pc226:chgData name="Pablo Jorquera Armijo" userId="748fa91a-1513-4e73-b7d0-a531ef377bd1" providerId="ADAL" clId="{60179218-B70C-4D12-A09E-1BB385B297CD}" dt="2023-12-11T19:17:47.809" v="1693"/>
              <pc2:cmMkLst xmlns:pc2="http://schemas.microsoft.com/office/powerpoint/2019/9/main/command">
                <pc:docMk/>
                <pc:sldMk cId="1286877226" sldId="282"/>
                <pc2:cmMk id="{79247237-113A-44B4-ACF4-CA1149534CB9}"/>
              </pc2:cmMkLst>
              <pc226:cmRplyChg chg="add">
                <pc226:chgData name="Pablo Jorquera Armijo" userId="748fa91a-1513-4e73-b7d0-a531ef377bd1" providerId="ADAL" clId="{60179218-B70C-4D12-A09E-1BB385B297CD}" dt="2023-12-11T15:46:27.769" v="1596"/>
                <pc2:cmRplyMkLst xmlns:pc2="http://schemas.microsoft.com/office/powerpoint/2019/9/main/command">
                  <pc:docMk/>
                  <pc:sldMk cId="1286877226" sldId="282"/>
                  <pc2:cmMk id="{79247237-113A-44B4-ACF4-CA1149534CB9}"/>
                  <pc2:cmRplyMk id="{F671CB48-65A2-4355-8EF9-C3F18B581239}"/>
                </pc2:cmRplyMkLst>
              </pc226:cmRplyChg>
            </pc226:cmChg>
            <pc226:cmChg xmlns:pc226="http://schemas.microsoft.com/office/powerpoint/2022/06/main/command" chg="del">
              <pc226:chgData name="Pablo Jorquera Armijo" userId="748fa91a-1513-4e73-b7d0-a531ef377bd1" providerId="ADAL" clId="{60179218-B70C-4D12-A09E-1BB385B297CD}" dt="2023-12-11T19:17:49.382" v="1694"/>
              <pc2:cmMkLst xmlns:pc2="http://schemas.microsoft.com/office/powerpoint/2019/9/main/command">
                <pc:docMk/>
                <pc:sldMk cId="1286877226" sldId="282"/>
                <pc2:cmMk id="{25DC0942-7CE3-4DE9-B1FF-1306C4A0011A}"/>
              </pc2:cmMkLst>
            </pc226:cmChg>
          </p:ext>
        </pc:extLst>
      </pc:sldChg>
      <pc:sldChg chg="delSp modSp mod">
        <pc:chgData name="Pablo Jorquera Armijo" userId="748fa91a-1513-4e73-b7d0-a531ef377bd1" providerId="ADAL" clId="{60179218-B70C-4D12-A09E-1BB385B297CD}" dt="2023-12-09T23:46:45.953" v="505" actId="1076"/>
        <pc:sldMkLst>
          <pc:docMk/>
          <pc:sldMk cId="661125719" sldId="286"/>
        </pc:sldMkLst>
        <pc:spChg chg="mod">
          <ac:chgData name="Pablo Jorquera Armijo" userId="748fa91a-1513-4e73-b7d0-a531ef377bd1" providerId="ADAL" clId="{60179218-B70C-4D12-A09E-1BB385B297CD}" dt="2023-12-09T23:46:45.953" v="505" actId="1076"/>
          <ac:spMkLst>
            <pc:docMk/>
            <pc:sldMk cId="661125719" sldId="286"/>
            <ac:spMk id="12" creationId="{64811130-DDD4-D69B-FD26-21D99C299F5C}"/>
          </ac:spMkLst>
        </pc:spChg>
        <pc:spChg chg="mod">
          <ac:chgData name="Pablo Jorquera Armijo" userId="748fa91a-1513-4e73-b7d0-a531ef377bd1" providerId="ADAL" clId="{60179218-B70C-4D12-A09E-1BB385B297CD}" dt="2023-12-09T23:46:41.131" v="503" actId="20577"/>
          <ac:spMkLst>
            <pc:docMk/>
            <pc:sldMk cId="661125719" sldId="286"/>
            <ac:spMk id="14" creationId="{CE5F27C9-AB1A-6BA8-2C3A-EBF09FA5B280}"/>
          </ac:spMkLst>
        </pc:spChg>
        <pc:spChg chg="mod">
          <ac:chgData name="Pablo Jorquera Armijo" userId="748fa91a-1513-4e73-b7d0-a531ef377bd1" providerId="ADAL" clId="{60179218-B70C-4D12-A09E-1BB385B297CD}" dt="2023-12-09T23:13:39.980" v="399" actId="20577"/>
          <ac:spMkLst>
            <pc:docMk/>
            <pc:sldMk cId="661125719" sldId="286"/>
            <ac:spMk id="15" creationId="{00000000-0000-0000-0000-000000000000}"/>
          </ac:spMkLst>
        </pc:spChg>
        <pc:cxnChg chg="del">
          <ac:chgData name="Pablo Jorquera Armijo" userId="748fa91a-1513-4e73-b7d0-a531ef377bd1" providerId="ADAL" clId="{60179218-B70C-4D12-A09E-1BB385B297CD}" dt="2023-12-09T23:46:43.217" v="504" actId="478"/>
          <ac:cxnSpMkLst>
            <pc:docMk/>
            <pc:sldMk cId="661125719" sldId="286"/>
            <ac:cxnSpMk id="16" creationId="{67133EB8-E959-2B36-A344-E631250FCF5C}"/>
          </ac:cxnSpMkLst>
        </pc:cxnChg>
      </pc:sldChg>
      <pc:sldChg chg="modSp mod modAnim">
        <pc:chgData name="Pablo Jorquera Armijo" userId="748fa91a-1513-4e73-b7d0-a531ef377bd1" providerId="ADAL" clId="{60179218-B70C-4D12-A09E-1BB385B297CD}" dt="2023-12-11T19:14:59.136" v="1682"/>
        <pc:sldMkLst>
          <pc:docMk/>
          <pc:sldMk cId="2726296481" sldId="292"/>
        </pc:sldMkLst>
        <pc:graphicFrameChg chg="modGraphic">
          <ac:chgData name="Pablo Jorquera Armijo" userId="748fa91a-1513-4e73-b7d0-a531ef377bd1" providerId="ADAL" clId="{60179218-B70C-4D12-A09E-1BB385B297CD}" dt="2023-12-09T23:01:30.669" v="369" actId="14100"/>
          <ac:graphicFrameMkLst>
            <pc:docMk/>
            <pc:sldMk cId="2726296481" sldId="292"/>
            <ac:graphicFrameMk id="2" creationId="{5EEFAE31-FD6E-18C4-EED9-C391D5D6D54C}"/>
          </ac:graphicFrameMkLst>
        </pc:graphicFrameChg>
      </pc:sldChg>
      <pc:sldChg chg="addSp delSp modSp mod addCm delCm modCm">
        <pc:chgData name="Pablo Jorquera Armijo" userId="748fa91a-1513-4e73-b7d0-a531ef377bd1" providerId="ADAL" clId="{60179218-B70C-4D12-A09E-1BB385B297CD}" dt="2023-12-11T19:17:34.594" v="1690"/>
        <pc:sldMkLst>
          <pc:docMk/>
          <pc:sldMk cId="4279748001" sldId="302"/>
        </pc:sldMkLst>
        <pc:spChg chg="mod">
          <ac:chgData name="Pablo Jorquera Armijo" userId="748fa91a-1513-4e73-b7d0-a531ef377bd1" providerId="ADAL" clId="{60179218-B70C-4D12-A09E-1BB385B297CD}" dt="2023-12-11T15:47:18.979" v="1601" actId="948"/>
          <ac:spMkLst>
            <pc:docMk/>
            <pc:sldMk cId="4279748001" sldId="302"/>
            <ac:spMk id="3" creationId="{00000000-0000-0000-0000-000000000000}"/>
          </ac:spMkLst>
        </pc:spChg>
        <pc:spChg chg="add del mod">
          <ac:chgData name="Pablo Jorquera Armijo" userId="748fa91a-1513-4e73-b7d0-a531ef377bd1" providerId="ADAL" clId="{60179218-B70C-4D12-A09E-1BB385B297CD}" dt="2023-12-09T22:53:38.990" v="198" actId="478"/>
          <ac:spMkLst>
            <pc:docMk/>
            <pc:sldMk cId="4279748001" sldId="302"/>
            <ac:spMk id="5" creationId="{E69517B4-4B51-23D7-EB19-3010D43C6B53}"/>
          </ac:spMkLst>
        </pc:spChg>
        <pc:spChg chg="add del mod">
          <ac:chgData name="Pablo Jorquera Armijo" userId="748fa91a-1513-4e73-b7d0-a531ef377bd1" providerId="ADAL" clId="{60179218-B70C-4D12-A09E-1BB385B297CD}" dt="2023-12-09T22:53:38.990" v="198" actId="478"/>
          <ac:spMkLst>
            <pc:docMk/>
            <pc:sldMk cId="4279748001" sldId="302"/>
            <ac:spMk id="8" creationId="{3A0E6432-D22D-B679-4A6D-95D147C5F7A4}"/>
          </ac:spMkLst>
        </pc:spChg>
        <pc:graphicFrameChg chg="add del mod">
          <ac:chgData name="Pablo Jorquera Armijo" userId="748fa91a-1513-4e73-b7d0-a531ef377bd1" providerId="ADAL" clId="{60179218-B70C-4D12-A09E-1BB385B297CD}" dt="2023-12-09T22:53:38.990" v="198" actId="478"/>
          <ac:graphicFrameMkLst>
            <pc:docMk/>
            <pc:sldMk cId="4279748001" sldId="302"/>
            <ac:graphicFrameMk id="2" creationId="{66D9556B-5184-7AF7-FB62-647A66B40807}"/>
          </ac:graphicFrameMkLst>
        </pc:graphicFrameChg>
        <pc:graphicFrameChg chg="add mod modGraphic">
          <ac:chgData name="Pablo Jorquera Armijo" userId="748fa91a-1513-4e73-b7d0-a531ef377bd1" providerId="ADAL" clId="{60179218-B70C-4D12-A09E-1BB385B297CD}" dt="2023-12-09T23:01:00.886" v="367" actId="20577"/>
          <ac:graphicFrameMkLst>
            <pc:docMk/>
            <pc:sldMk cId="4279748001" sldId="302"/>
            <ac:graphicFrameMk id="9" creationId="{6049B724-A37F-D3C2-3B53-1E260A1416DA}"/>
          </ac:graphicFrameMkLst>
        </pc:graphicFrameChg>
        <pc:extLst>
          <p:ext xmlns:p="http://schemas.openxmlformats.org/presentationml/2006/main" uri="{D6D511B9-2390-475A-947B-AFAB55BFBCF1}">
            <pc226:cmChg xmlns:pc226="http://schemas.microsoft.com/office/powerpoint/2022/06/main/command" chg="del mod">
              <pc226:chgData name="Pablo Jorquera Armijo" userId="748fa91a-1513-4e73-b7d0-a531ef377bd1" providerId="ADAL" clId="{60179218-B70C-4D12-A09E-1BB385B297CD}" dt="2023-12-11T19:17:34.594" v="1690"/>
              <pc2:cmMkLst xmlns:pc2="http://schemas.microsoft.com/office/powerpoint/2019/9/main/command">
                <pc:docMk/>
                <pc:sldMk cId="4279748001" sldId="302"/>
                <pc2:cmMk id="{E427E80D-03EC-4B83-9304-48BCA48313CE}"/>
              </pc2:cmMkLst>
            </pc226:cmChg>
            <pc226:cmChg xmlns:pc226="http://schemas.microsoft.com/office/powerpoint/2022/06/main/command" chg="add del mod">
              <pc226:chgData name="Pablo Jorquera Armijo" userId="748fa91a-1513-4e73-b7d0-a531ef377bd1" providerId="ADAL" clId="{60179218-B70C-4D12-A09E-1BB385B297CD}" dt="2023-12-11T18:34:22.087" v="1681"/>
              <pc2:cmMkLst xmlns:pc2="http://schemas.microsoft.com/office/powerpoint/2019/9/main/command">
                <pc:docMk/>
                <pc:sldMk cId="4279748001" sldId="302"/>
                <pc2:cmMk id="{4330354C-1772-4DDA-897B-FADF92902E74}"/>
              </pc2:cmMkLst>
            </pc226:cmChg>
            <pc226:cmChg xmlns:pc226="http://schemas.microsoft.com/office/powerpoint/2022/06/main/command" chg="del">
              <pc226:chgData name="Pablo Jorquera Armijo" userId="748fa91a-1513-4e73-b7d0-a531ef377bd1" providerId="ADAL" clId="{60179218-B70C-4D12-A09E-1BB385B297CD}" dt="2023-12-11T18:34:21.523" v="1680"/>
              <pc2:cmMkLst xmlns:pc2="http://schemas.microsoft.com/office/powerpoint/2019/9/main/command">
                <pc:docMk/>
                <pc:sldMk cId="4279748001" sldId="302"/>
                <pc2:cmMk id="{6B8128A9-933C-4C9D-92DA-063979610704}"/>
              </pc2:cmMkLst>
            </pc226:cmChg>
            <pc226:cmChg xmlns:pc226="http://schemas.microsoft.com/office/powerpoint/2022/06/main/command" chg="del mod">
              <pc226:chgData name="Pablo Jorquera Armijo" userId="748fa91a-1513-4e73-b7d0-a531ef377bd1" providerId="ADAL" clId="{60179218-B70C-4D12-A09E-1BB385B297CD}" dt="2023-12-10T16:03:06.264" v="588"/>
              <pc2:cmMkLst xmlns:pc2="http://schemas.microsoft.com/office/powerpoint/2019/9/main/command">
                <pc:docMk/>
                <pc:sldMk cId="4279748001" sldId="302"/>
                <pc2:cmMk id="{FB8F51DA-4259-450E-9380-063F15D45C17}"/>
              </pc2:cmMkLst>
            </pc226:cmChg>
          </p:ext>
        </pc:extLst>
      </pc:sldChg>
      <pc:sldChg chg="addSp modSp add del mod">
        <pc:chgData name="Pablo Jorquera Armijo" userId="748fa91a-1513-4e73-b7d0-a531ef377bd1" providerId="ADAL" clId="{60179218-B70C-4D12-A09E-1BB385B297CD}" dt="2023-12-10T16:09:00.054" v="710" actId="47"/>
        <pc:sldMkLst>
          <pc:docMk/>
          <pc:sldMk cId="3747863283" sldId="310"/>
        </pc:sldMkLst>
        <pc:spChg chg="add mod">
          <ac:chgData name="Pablo Jorquera Armijo" userId="748fa91a-1513-4e73-b7d0-a531ef377bd1" providerId="ADAL" clId="{60179218-B70C-4D12-A09E-1BB385B297CD}" dt="2023-12-10T16:08:59.323" v="707" actId="1076"/>
          <ac:spMkLst>
            <pc:docMk/>
            <pc:sldMk cId="3747863283" sldId="310"/>
            <ac:spMk id="2" creationId="{21DFAA43-6996-1422-EB12-AD2AF33A34D0}"/>
          </ac:spMkLst>
        </pc:spChg>
        <pc:spChg chg="mod">
          <ac:chgData name="Pablo Jorquera Armijo" userId="748fa91a-1513-4e73-b7d0-a531ef377bd1" providerId="ADAL" clId="{60179218-B70C-4D12-A09E-1BB385B297CD}" dt="2023-12-10T16:01:47.385" v="560" actId="20577"/>
          <ac:spMkLst>
            <pc:docMk/>
            <pc:sldMk cId="3747863283" sldId="310"/>
            <ac:spMk id="3" creationId="{00000000-0000-0000-0000-000000000000}"/>
          </ac:spMkLst>
        </pc:spChg>
      </pc:sldChg>
      <pc:sldChg chg="modSp mod">
        <pc:chgData name="Pablo Jorquera Armijo" userId="748fa91a-1513-4e73-b7d0-a531ef377bd1" providerId="ADAL" clId="{60179218-B70C-4D12-A09E-1BB385B297CD}" dt="2023-12-10T16:15:19.795" v="808" actId="207"/>
        <pc:sldMkLst>
          <pc:docMk/>
          <pc:sldMk cId="2685066924" sldId="317"/>
        </pc:sldMkLst>
        <pc:spChg chg="mod">
          <ac:chgData name="Pablo Jorquera Armijo" userId="748fa91a-1513-4e73-b7d0-a531ef377bd1" providerId="ADAL" clId="{60179218-B70C-4D12-A09E-1BB385B297CD}" dt="2023-12-10T16:15:19.795" v="808" actId="207"/>
          <ac:spMkLst>
            <pc:docMk/>
            <pc:sldMk cId="2685066924" sldId="317"/>
            <ac:spMk id="4" creationId="{F4BFACB6-EF56-555C-7344-34F4D88EC1D7}"/>
          </ac:spMkLst>
        </pc:spChg>
      </pc:sldChg>
      <pc:sldChg chg="modSp mod modCm">
        <pc:chgData name="Pablo Jorquera Armijo" userId="748fa91a-1513-4e73-b7d0-a531ef377bd1" providerId="ADAL" clId="{60179218-B70C-4D12-A09E-1BB385B297CD}" dt="2023-12-11T13:30:54.875" v="1591" actId="207"/>
        <pc:sldMkLst>
          <pc:docMk/>
          <pc:sldMk cId="3271780845" sldId="10403"/>
        </pc:sldMkLst>
        <pc:spChg chg="mod">
          <ac:chgData name="Pablo Jorquera Armijo" userId="748fa91a-1513-4e73-b7d0-a531ef377bd1" providerId="ADAL" clId="{60179218-B70C-4D12-A09E-1BB385B297CD}" dt="2023-12-10T15:57:56.894" v="506" actId="207"/>
          <ac:spMkLst>
            <pc:docMk/>
            <pc:sldMk cId="3271780845" sldId="10403"/>
            <ac:spMk id="8" creationId="{475EA3C9-3F03-3CA4-FC58-5E2F3FA20896}"/>
          </ac:spMkLst>
        </pc:spChg>
        <pc:graphicFrameChg chg="mod">
          <ac:chgData name="Pablo Jorquera Armijo" userId="748fa91a-1513-4e73-b7d0-a531ef377bd1" providerId="ADAL" clId="{60179218-B70C-4D12-A09E-1BB385B297CD}" dt="2023-12-11T13:30:54.875" v="1591" actId="207"/>
          <ac:graphicFrameMkLst>
            <pc:docMk/>
            <pc:sldMk cId="3271780845" sldId="10403"/>
            <ac:graphicFrameMk id="4" creationId="{22006101-9E8C-AF6E-8186-1C5F5FFEEA42}"/>
          </ac:graphicFrameMkLst>
        </pc:graphicFrameChg>
        <pc:extLst>
          <p:ext xmlns:p="http://schemas.openxmlformats.org/presentationml/2006/main" uri="{D6D511B9-2390-475A-947B-AFAB55BFBCF1}">
            <pc226:cmChg xmlns:pc226="http://schemas.microsoft.com/office/powerpoint/2022/06/main/command" chg="">
              <pc226:chgData name="Pablo Jorquera Armijo" userId="748fa91a-1513-4e73-b7d0-a531ef377bd1" providerId="ADAL" clId="{60179218-B70C-4D12-A09E-1BB385B297CD}" dt="2023-12-10T16:12:05.227" v="759"/>
              <pc2:cmMkLst xmlns:pc2="http://schemas.microsoft.com/office/powerpoint/2019/9/main/command">
                <pc:docMk/>
                <pc:sldMk cId="3271780845" sldId="10403"/>
                <pc2:cmMk id="{A343982B-1C7D-484B-B83F-D992276D9F3B}"/>
              </pc2:cmMkLst>
              <pc226:cmRplyChg chg="add del">
                <pc226:chgData name="Pablo Jorquera Armijo" userId="748fa91a-1513-4e73-b7d0-a531ef377bd1" providerId="ADAL" clId="{60179218-B70C-4D12-A09E-1BB385B297CD}" dt="2023-12-10T16:12:05.227" v="759"/>
                <pc2:cmRplyMkLst xmlns:pc2="http://schemas.microsoft.com/office/powerpoint/2019/9/main/command">
                  <pc:docMk/>
                  <pc:sldMk cId="3271780845" sldId="10403"/>
                  <pc2:cmMk id="{A343982B-1C7D-484B-B83F-D992276D9F3B}"/>
                  <pc2:cmRplyMk id="{70298161-AF7D-49D0-8C70-FC5D460AEC05}"/>
                </pc2:cmRplyMkLst>
              </pc226:cmRplyChg>
            </pc226:cmChg>
          </p:ext>
        </pc:extLst>
      </pc:sldChg>
      <pc:sldChg chg="modSp mod">
        <pc:chgData name="Pablo Jorquera Armijo" userId="748fa91a-1513-4e73-b7d0-a531ef377bd1" providerId="ADAL" clId="{60179218-B70C-4D12-A09E-1BB385B297CD}" dt="2023-12-09T23:46:08.961" v="487" actId="20577"/>
        <pc:sldMkLst>
          <pc:docMk/>
          <pc:sldMk cId="946714700" sldId="10404"/>
        </pc:sldMkLst>
        <pc:spChg chg="mod">
          <ac:chgData name="Pablo Jorquera Armijo" userId="748fa91a-1513-4e73-b7d0-a531ef377bd1" providerId="ADAL" clId="{60179218-B70C-4D12-A09E-1BB385B297CD}" dt="2023-12-09T23:46:08.961" v="487" actId="20577"/>
          <ac:spMkLst>
            <pc:docMk/>
            <pc:sldMk cId="946714700" sldId="10404"/>
            <ac:spMk id="30" creationId="{0E1BC0FB-6523-AE0A-2F49-2A8A0B34CAE8}"/>
          </ac:spMkLst>
        </pc:spChg>
      </pc:sldChg>
      <pc:sldChg chg="delSp modSp mod">
        <pc:chgData name="Pablo Jorquera Armijo" userId="748fa91a-1513-4e73-b7d0-a531ef377bd1" providerId="ADAL" clId="{60179218-B70C-4D12-A09E-1BB385B297CD}" dt="2023-12-09T23:45:43.249" v="465" actId="14100"/>
        <pc:sldMkLst>
          <pc:docMk/>
          <pc:sldMk cId="3968378464" sldId="10405"/>
        </pc:sldMkLst>
        <pc:spChg chg="mod">
          <ac:chgData name="Pablo Jorquera Armijo" userId="748fa91a-1513-4e73-b7d0-a531ef377bd1" providerId="ADAL" clId="{60179218-B70C-4D12-A09E-1BB385B297CD}" dt="2023-12-09T23:45:21.048" v="459" actId="1076"/>
          <ac:spMkLst>
            <pc:docMk/>
            <pc:sldMk cId="3968378464" sldId="10405"/>
            <ac:spMk id="13" creationId="{F923AD76-AEA7-9D2A-6A6A-A70D8378176E}"/>
          </ac:spMkLst>
        </pc:spChg>
        <pc:spChg chg="mod">
          <ac:chgData name="Pablo Jorquera Armijo" userId="748fa91a-1513-4e73-b7d0-a531ef377bd1" providerId="ADAL" clId="{60179218-B70C-4D12-A09E-1BB385B297CD}" dt="2023-12-09T23:45:16.065" v="456" actId="1076"/>
          <ac:spMkLst>
            <pc:docMk/>
            <pc:sldMk cId="3968378464" sldId="10405"/>
            <ac:spMk id="14" creationId="{CD9DF521-4C22-F389-FDC6-A70B2EE6BE4C}"/>
          </ac:spMkLst>
        </pc:spChg>
        <pc:spChg chg="mod">
          <ac:chgData name="Pablo Jorquera Armijo" userId="748fa91a-1513-4e73-b7d0-a531ef377bd1" providerId="ADAL" clId="{60179218-B70C-4D12-A09E-1BB385B297CD}" dt="2023-12-09T23:45:27.321" v="461" actId="1076"/>
          <ac:spMkLst>
            <pc:docMk/>
            <pc:sldMk cId="3968378464" sldId="10405"/>
            <ac:spMk id="16" creationId="{00000000-0000-0000-0000-000000000000}"/>
          </ac:spMkLst>
        </pc:spChg>
        <pc:spChg chg="mod">
          <ac:chgData name="Pablo Jorquera Armijo" userId="748fa91a-1513-4e73-b7d0-a531ef377bd1" providerId="ADAL" clId="{60179218-B70C-4D12-A09E-1BB385B297CD}" dt="2023-12-09T23:45:25.713" v="460" actId="1076"/>
          <ac:spMkLst>
            <pc:docMk/>
            <pc:sldMk cId="3968378464" sldId="10405"/>
            <ac:spMk id="24" creationId="{00000000-0000-0000-0000-000000000000}"/>
          </ac:spMkLst>
        </pc:spChg>
        <pc:cxnChg chg="mod">
          <ac:chgData name="Pablo Jorquera Armijo" userId="748fa91a-1513-4e73-b7d0-a531ef377bd1" providerId="ADAL" clId="{60179218-B70C-4D12-A09E-1BB385B297CD}" dt="2023-12-09T23:45:19.200" v="458" actId="1076"/>
          <ac:cxnSpMkLst>
            <pc:docMk/>
            <pc:sldMk cId="3968378464" sldId="10405"/>
            <ac:cxnSpMk id="2" creationId="{20F30B8B-24E8-A33E-B29E-FD1B071D61F4}"/>
          </ac:cxnSpMkLst>
        </pc:cxnChg>
        <pc:cxnChg chg="del">
          <ac:chgData name="Pablo Jorquera Armijo" userId="748fa91a-1513-4e73-b7d0-a531ef377bd1" providerId="ADAL" clId="{60179218-B70C-4D12-A09E-1BB385B297CD}" dt="2023-12-09T23:45:31.088" v="462" actId="478"/>
          <ac:cxnSpMkLst>
            <pc:docMk/>
            <pc:sldMk cId="3968378464" sldId="10405"/>
            <ac:cxnSpMk id="5" creationId="{00000000-0000-0000-0000-000000000000}"/>
          </ac:cxnSpMkLst>
        </pc:cxnChg>
        <pc:cxnChg chg="mod">
          <ac:chgData name="Pablo Jorquera Armijo" userId="748fa91a-1513-4e73-b7d0-a531ef377bd1" providerId="ADAL" clId="{60179218-B70C-4D12-A09E-1BB385B297CD}" dt="2023-12-09T23:45:43.249" v="465" actId="14100"/>
          <ac:cxnSpMkLst>
            <pc:docMk/>
            <pc:sldMk cId="3968378464" sldId="10405"/>
            <ac:cxnSpMk id="6" creationId="{00000000-0000-0000-0000-000000000000}"/>
          </ac:cxnSpMkLst>
        </pc:cxnChg>
        <pc:cxnChg chg="mod">
          <ac:chgData name="Pablo Jorquera Armijo" userId="748fa91a-1513-4e73-b7d0-a531ef377bd1" providerId="ADAL" clId="{60179218-B70C-4D12-A09E-1BB385B297CD}" dt="2023-12-09T23:45:06.954" v="454" actId="1036"/>
          <ac:cxnSpMkLst>
            <pc:docMk/>
            <pc:sldMk cId="3968378464" sldId="10405"/>
            <ac:cxnSpMk id="18" creationId="{00000000-0000-0000-0000-000000000000}"/>
          </ac:cxnSpMkLst>
        </pc:cxnChg>
      </pc:sldChg>
      <pc:sldChg chg="mod modShow">
        <pc:chgData name="Pablo Jorquera Armijo" userId="748fa91a-1513-4e73-b7d0-a531ef377bd1" providerId="ADAL" clId="{60179218-B70C-4D12-A09E-1BB385B297CD}" dt="2023-12-11T18:07:14.205" v="1678" actId="729"/>
        <pc:sldMkLst>
          <pc:docMk/>
          <pc:sldMk cId="2628919268" sldId="10684"/>
        </pc:sldMkLst>
      </pc:sldChg>
      <pc:sldChg chg="mod modShow">
        <pc:chgData name="Pablo Jorquera Armijo" userId="748fa91a-1513-4e73-b7d0-a531ef377bd1" providerId="ADAL" clId="{60179218-B70C-4D12-A09E-1BB385B297CD}" dt="2023-12-11T18:07:14.205" v="1678" actId="729"/>
        <pc:sldMkLst>
          <pc:docMk/>
          <pc:sldMk cId="1057923088" sldId="10698"/>
        </pc:sldMkLst>
      </pc:sldChg>
      <pc:sldChg chg="modSp mod">
        <pc:chgData name="Pablo Jorquera Armijo" userId="748fa91a-1513-4e73-b7d0-a531ef377bd1" providerId="ADAL" clId="{60179218-B70C-4D12-A09E-1BB385B297CD}" dt="2023-12-09T23:44:19.797" v="436" actId="12788"/>
        <pc:sldMkLst>
          <pc:docMk/>
          <pc:sldMk cId="2970317368" sldId="10702"/>
        </pc:sldMkLst>
        <pc:spChg chg="mod">
          <ac:chgData name="Pablo Jorquera Armijo" userId="748fa91a-1513-4e73-b7d0-a531ef377bd1" providerId="ADAL" clId="{60179218-B70C-4D12-A09E-1BB385B297CD}" dt="2023-12-09T23:44:19.797" v="436" actId="12788"/>
          <ac:spMkLst>
            <pc:docMk/>
            <pc:sldMk cId="2970317368" sldId="10702"/>
            <ac:spMk id="4" creationId="{0E4449A5-B4E9-83E2-10EF-FBDD635F14BF}"/>
          </ac:spMkLst>
        </pc:spChg>
        <pc:spChg chg="mod">
          <ac:chgData name="Pablo Jorquera Armijo" userId="748fa91a-1513-4e73-b7d0-a531ef377bd1" providerId="ADAL" clId="{60179218-B70C-4D12-A09E-1BB385B297CD}" dt="2023-12-09T23:44:19.797" v="436" actId="12788"/>
          <ac:spMkLst>
            <pc:docMk/>
            <pc:sldMk cId="2970317368" sldId="10702"/>
            <ac:spMk id="8" creationId="{B80B0A1A-59C4-2EB1-5DCD-2B35390F2587}"/>
          </ac:spMkLst>
        </pc:spChg>
        <pc:graphicFrameChg chg="mod">
          <ac:chgData name="Pablo Jorquera Armijo" userId="748fa91a-1513-4e73-b7d0-a531ef377bd1" providerId="ADAL" clId="{60179218-B70C-4D12-A09E-1BB385B297CD}" dt="2023-12-09T23:44:19.797" v="436" actId="12788"/>
          <ac:graphicFrameMkLst>
            <pc:docMk/>
            <pc:sldMk cId="2970317368" sldId="10702"/>
            <ac:graphicFrameMk id="2" creationId="{2E9A307B-0D5F-36C1-A345-6909A38F7DCB}"/>
          </ac:graphicFrameMkLst>
        </pc:graphicFrameChg>
        <pc:graphicFrameChg chg="mod">
          <ac:chgData name="Pablo Jorquera Armijo" userId="748fa91a-1513-4e73-b7d0-a531ef377bd1" providerId="ADAL" clId="{60179218-B70C-4D12-A09E-1BB385B297CD}" dt="2023-12-09T23:44:19.797" v="436" actId="12788"/>
          <ac:graphicFrameMkLst>
            <pc:docMk/>
            <pc:sldMk cId="2970317368" sldId="10702"/>
            <ac:graphicFrameMk id="7" creationId="{59577CFC-10F8-DAEC-8F52-C4FA2557A73B}"/>
          </ac:graphicFrameMkLst>
        </pc:graphicFrameChg>
      </pc:sldChg>
      <pc:sldChg chg="mod modShow">
        <pc:chgData name="Pablo Jorquera Armijo" userId="748fa91a-1513-4e73-b7d0-a531ef377bd1" providerId="ADAL" clId="{60179218-B70C-4D12-A09E-1BB385B297CD}" dt="2023-12-11T18:07:14.205" v="1678" actId="729"/>
        <pc:sldMkLst>
          <pc:docMk/>
          <pc:sldMk cId="1873744613" sldId="10705"/>
        </pc:sldMkLst>
      </pc:sldChg>
      <pc:sldChg chg="mod modShow">
        <pc:chgData name="Pablo Jorquera Armijo" userId="748fa91a-1513-4e73-b7d0-a531ef377bd1" providerId="ADAL" clId="{60179218-B70C-4D12-A09E-1BB385B297CD}" dt="2023-12-11T18:07:14.205" v="1678" actId="729"/>
        <pc:sldMkLst>
          <pc:docMk/>
          <pc:sldMk cId="4163247597" sldId="10706"/>
        </pc:sldMkLst>
      </pc:sldChg>
      <pc:sldChg chg="mod modShow">
        <pc:chgData name="Pablo Jorquera Armijo" userId="748fa91a-1513-4e73-b7d0-a531ef377bd1" providerId="ADAL" clId="{60179218-B70C-4D12-A09E-1BB385B297CD}" dt="2023-12-11T18:07:14.205" v="1678" actId="729"/>
        <pc:sldMkLst>
          <pc:docMk/>
          <pc:sldMk cId="1732279782" sldId="10707"/>
        </pc:sldMkLst>
      </pc:sldChg>
      <pc:sldChg chg="mod modShow">
        <pc:chgData name="Pablo Jorquera Armijo" userId="748fa91a-1513-4e73-b7d0-a531ef377bd1" providerId="ADAL" clId="{60179218-B70C-4D12-A09E-1BB385B297CD}" dt="2023-12-11T18:07:14.205" v="1678" actId="729"/>
        <pc:sldMkLst>
          <pc:docMk/>
          <pc:sldMk cId="1853367435" sldId="10708"/>
        </pc:sldMkLst>
      </pc:sldChg>
      <pc:sldChg chg="mod modShow">
        <pc:chgData name="Pablo Jorquera Armijo" userId="748fa91a-1513-4e73-b7d0-a531ef377bd1" providerId="ADAL" clId="{60179218-B70C-4D12-A09E-1BB385B297CD}" dt="2023-12-11T18:07:14.205" v="1678" actId="729"/>
        <pc:sldMkLst>
          <pc:docMk/>
          <pc:sldMk cId="2764149934" sldId="10709"/>
        </pc:sldMkLst>
      </pc:sldChg>
      <pc:sldChg chg="mod modShow">
        <pc:chgData name="Pablo Jorquera Armijo" userId="748fa91a-1513-4e73-b7d0-a531ef377bd1" providerId="ADAL" clId="{60179218-B70C-4D12-A09E-1BB385B297CD}" dt="2023-12-11T18:07:14.205" v="1678" actId="729"/>
        <pc:sldMkLst>
          <pc:docMk/>
          <pc:sldMk cId="3532365010" sldId="10711"/>
        </pc:sldMkLst>
      </pc:sldChg>
      <pc:sldChg chg="mod modShow">
        <pc:chgData name="Pablo Jorquera Armijo" userId="748fa91a-1513-4e73-b7d0-a531ef377bd1" providerId="ADAL" clId="{60179218-B70C-4D12-A09E-1BB385B297CD}" dt="2023-12-11T18:07:14.205" v="1678" actId="729"/>
        <pc:sldMkLst>
          <pc:docMk/>
          <pc:sldMk cId="2653088693" sldId="10714"/>
        </pc:sldMkLst>
      </pc:sldChg>
      <pc:sldChg chg="mod modShow">
        <pc:chgData name="Pablo Jorquera Armijo" userId="748fa91a-1513-4e73-b7d0-a531ef377bd1" providerId="ADAL" clId="{60179218-B70C-4D12-A09E-1BB385B297CD}" dt="2023-12-11T18:07:14.205" v="1678" actId="729"/>
        <pc:sldMkLst>
          <pc:docMk/>
          <pc:sldMk cId="76288315" sldId="10720"/>
        </pc:sldMkLst>
      </pc:sldChg>
      <pc:sldChg chg="mod modShow">
        <pc:chgData name="Pablo Jorquera Armijo" userId="748fa91a-1513-4e73-b7d0-a531ef377bd1" providerId="ADAL" clId="{60179218-B70C-4D12-A09E-1BB385B297CD}" dt="2023-12-11T18:07:14.205" v="1678" actId="729"/>
        <pc:sldMkLst>
          <pc:docMk/>
          <pc:sldMk cId="2917938081" sldId="10724"/>
        </pc:sldMkLst>
      </pc:sldChg>
      <pc:sldChg chg="mod modShow">
        <pc:chgData name="Pablo Jorquera Armijo" userId="748fa91a-1513-4e73-b7d0-a531ef377bd1" providerId="ADAL" clId="{60179218-B70C-4D12-A09E-1BB385B297CD}" dt="2023-12-11T18:07:14.205" v="1678" actId="729"/>
        <pc:sldMkLst>
          <pc:docMk/>
          <pc:sldMk cId="442456268" sldId="10725"/>
        </pc:sldMkLst>
      </pc:sldChg>
      <pc:sldChg chg="mod modShow">
        <pc:chgData name="Pablo Jorquera Armijo" userId="748fa91a-1513-4e73-b7d0-a531ef377bd1" providerId="ADAL" clId="{60179218-B70C-4D12-A09E-1BB385B297CD}" dt="2023-12-11T18:07:14.205" v="1678" actId="729"/>
        <pc:sldMkLst>
          <pc:docMk/>
          <pc:sldMk cId="410850174" sldId="10726"/>
        </pc:sldMkLst>
      </pc:sldChg>
      <pc:sldChg chg="mod modShow">
        <pc:chgData name="Pablo Jorquera Armijo" userId="748fa91a-1513-4e73-b7d0-a531ef377bd1" providerId="ADAL" clId="{60179218-B70C-4D12-A09E-1BB385B297CD}" dt="2023-12-11T18:07:14.205" v="1678" actId="729"/>
        <pc:sldMkLst>
          <pc:docMk/>
          <pc:sldMk cId="745958004" sldId="10727"/>
        </pc:sldMkLst>
      </pc:sldChg>
      <pc:sldChg chg="addSp delSp modSp mod">
        <pc:chgData name="Pablo Jorquera Armijo" userId="748fa91a-1513-4e73-b7d0-a531ef377bd1" providerId="ADAL" clId="{60179218-B70C-4D12-A09E-1BB385B297CD}" dt="2023-12-10T16:14:16.146" v="791" actId="255"/>
        <pc:sldMkLst>
          <pc:docMk/>
          <pc:sldMk cId="2006891235" sldId="2147471245"/>
        </pc:sldMkLst>
        <pc:spChg chg="add del mod">
          <ac:chgData name="Pablo Jorquera Armijo" userId="748fa91a-1513-4e73-b7d0-a531ef377bd1" providerId="ADAL" clId="{60179218-B70C-4D12-A09E-1BB385B297CD}" dt="2023-12-10T16:10:07.882" v="738" actId="478"/>
          <ac:spMkLst>
            <pc:docMk/>
            <pc:sldMk cId="2006891235" sldId="2147471245"/>
            <ac:spMk id="2" creationId="{E852A658-3517-BD76-B7BE-3D7744A92252}"/>
          </ac:spMkLst>
        </pc:spChg>
        <pc:spChg chg="mod">
          <ac:chgData name="Pablo Jorquera Armijo" userId="748fa91a-1513-4e73-b7d0-a531ef377bd1" providerId="ADAL" clId="{60179218-B70C-4D12-A09E-1BB385B297CD}" dt="2023-12-10T16:14:16.146" v="791" actId="255"/>
          <ac:spMkLst>
            <pc:docMk/>
            <pc:sldMk cId="2006891235" sldId="2147471245"/>
            <ac:spMk id="3" creationId="{00000000-0000-0000-0000-000000000000}"/>
          </ac:spMkLst>
        </pc:spChg>
      </pc:sldChg>
      <pc:sldChg chg="modSp mod delCm">
        <pc:chgData name="Pablo Jorquera Armijo" userId="748fa91a-1513-4e73-b7d0-a531ef377bd1" providerId="ADAL" clId="{60179218-B70C-4D12-A09E-1BB385B297CD}" dt="2023-12-11T19:17:25.385" v="1689"/>
        <pc:sldMkLst>
          <pc:docMk/>
          <pc:sldMk cId="4172540067" sldId="2147471246"/>
        </pc:sldMkLst>
        <pc:spChg chg="mod">
          <ac:chgData name="Pablo Jorquera Armijo" userId="748fa91a-1513-4e73-b7d0-a531ef377bd1" providerId="ADAL" clId="{60179218-B70C-4D12-A09E-1BB385B297CD}" dt="2023-12-10T16:14:25.530" v="794" actId="1076"/>
          <ac:spMkLst>
            <pc:docMk/>
            <pc:sldMk cId="4172540067" sldId="2147471246"/>
            <ac:spMk id="3" creationId="{00000000-0000-0000-0000-000000000000}"/>
          </ac:spMkLst>
        </pc:spChg>
        <pc:extLst>
          <p:ext xmlns:p="http://schemas.openxmlformats.org/presentationml/2006/main" uri="{D6D511B9-2390-475A-947B-AFAB55BFBCF1}">
            <pc226:cmChg xmlns:pc226="http://schemas.microsoft.com/office/powerpoint/2022/06/main/command" chg="del">
              <pc226:chgData name="Pablo Jorquera Armijo" userId="748fa91a-1513-4e73-b7d0-a531ef377bd1" providerId="ADAL" clId="{60179218-B70C-4D12-A09E-1BB385B297CD}" dt="2023-12-11T19:17:25.385" v="1689"/>
              <pc2:cmMkLst xmlns:pc2="http://schemas.microsoft.com/office/powerpoint/2019/9/main/command">
                <pc:docMk/>
                <pc:sldMk cId="4172540067" sldId="2147471246"/>
                <pc2:cmMk id="{28B0A288-8643-4DC1-96EA-601AEDE9A242}"/>
              </pc2:cmMkLst>
            </pc226:cmChg>
          </p:ext>
        </pc:extLst>
      </pc:sldChg>
      <pc:sldChg chg="modSp mod delCm">
        <pc:chgData name="Pablo Jorquera Armijo" userId="748fa91a-1513-4e73-b7d0-a531ef377bd1" providerId="ADAL" clId="{60179218-B70C-4D12-A09E-1BB385B297CD}" dt="2023-12-11T19:17:16.658" v="1688"/>
        <pc:sldMkLst>
          <pc:docMk/>
          <pc:sldMk cId="4293016435" sldId="2147471247"/>
        </pc:sldMkLst>
        <pc:spChg chg="mod">
          <ac:chgData name="Pablo Jorquera Armijo" userId="748fa91a-1513-4e73-b7d0-a531ef377bd1" providerId="ADAL" clId="{60179218-B70C-4D12-A09E-1BB385B297CD}" dt="2023-12-10T16:14:29.468" v="795" actId="255"/>
          <ac:spMkLst>
            <pc:docMk/>
            <pc:sldMk cId="4293016435" sldId="2147471247"/>
            <ac:spMk id="3" creationId="{00000000-0000-0000-0000-000000000000}"/>
          </ac:spMkLst>
        </pc:spChg>
        <pc:extLst>
          <p:ext xmlns:p="http://schemas.openxmlformats.org/presentationml/2006/main" uri="{D6D511B9-2390-475A-947B-AFAB55BFBCF1}">
            <pc226:cmChg xmlns:pc226="http://schemas.microsoft.com/office/powerpoint/2022/06/main/command" chg="del">
              <pc226:chgData name="Pablo Jorquera Armijo" userId="748fa91a-1513-4e73-b7d0-a531ef377bd1" providerId="ADAL" clId="{60179218-B70C-4D12-A09E-1BB385B297CD}" dt="2023-12-11T19:17:16.658" v="1688"/>
              <pc2:cmMkLst xmlns:pc2="http://schemas.microsoft.com/office/powerpoint/2019/9/main/command">
                <pc:docMk/>
                <pc:sldMk cId="4293016435" sldId="2147471247"/>
                <pc2:cmMk id="{74340615-8C1A-49CA-BD29-4998895AE4C4}"/>
              </pc2:cmMkLst>
            </pc226:cmChg>
          </p:ext>
        </pc:extLst>
      </pc:sldChg>
      <pc:sldChg chg="modSp mod">
        <pc:chgData name="Pablo Jorquera Armijo" userId="748fa91a-1513-4e73-b7d0-a531ef377bd1" providerId="ADAL" clId="{60179218-B70C-4D12-A09E-1BB385B297CD}" dt="2023-12-10T16:15:01.941" v="806" actId="14100"/>
        <pc:sldMkLst>
          <pc:docMk/>
          <pc:sldMk cId="1988382518" sldId="2147471251"/>
        </pc:sldMkLst>
        <pc:spChg chg="mod">
          <ac:chgData name="Pablo Jorquera Armijo" userId="748fa91a-1513-4e73-b7d0-a531ef377bd1" providerId="ADAL" clId="{60179218-B70C-4D12-A09E-1BB385B297CD}" dt="2023-12-10T16:15:01.941" v="806" actId="14100"/>
          <ac:spMkLst>
            <pc:docMk/>
            <pc:sldMk cId="1988382518" sldId="2147471251"/>
            <ac:spMk id="3" creationId="{00000000-0000-0000-0000-000000000000}"/>
          </ac:spMkLst>
        </pc:spChg>
      </pc:sldChg>
      <pc:sldChg chg="modSp mod modCm">
        <pc:chgData name="Pablo Jorquera Armijo" userId="748fa91a-1513-4e73-b7d0-a531ef377bd1" providerId="ADAL" clId="{60179218-B70C-4D12-A09E-1BB385B297CD}" dt="2023-12-11T15:47:33.312" v="1605" actId="948"/>
        <pc:sldMkLst>
          <pc:docMk/>
          <pc:sldMk cId="3022009777" sldId="2147471253"/>
        </pc:sldMkLst>
        <pc:spChg chg="mod">
          <ac:chgData name="Pablo Jorquera Armijo" userId="748fa91a-1513-4e73-b7d0-a531ef377bd1" providerId="ADAL" clId="{60179218-B70C-4D12-A09E-1BB385B297CD}" dt="2023-12-11T15:47:33.312" v="1605" actId="948"/>
          <ac:spMkLst>
            <pc:docMk/>
            <pc:sldMk cId="3022009777" sldId="2147471253"/>
            <ac:spMk id="3" creationId="{00000000-0000-0000-0000-000000000000}"/>
          </ac:spMkLst>
        </pc:spChg>
        <pc:extLst>
          <p:ext xmlns:p="http://schemas.openxmlformats.org/presentationml/2006/main" uri="{D6D511B9-2390-475A-947B-AFAB55BFBCF1}">
            <pc226:cmChg xmlns:pc226="http://schemas.microsoft.com/office/powerpoint/2022/06/main/command" chg="mod">
              <pc226:chgData name="Pablo Jorquera Armijo" userId="748fa91a-1513-4e73-b7d0-a531ef377bd1" providerId="ADAL" clId="{60179218-B70C-4D12-A09E-1BB385B297CD}" dt="2023-12-11T15:47:29.472" v="1604" actId="6549"/>
              <pc2:cmMkLst xmlns:pc2="http://schemas.microsoft.com/office/powerpoint/2019/9/main/command">
                <pc:docMk/>
                <pc:sldMk cId="3022009777" sldId="2147471253"/>
                <pc2:cmMk id="{34C88E09-B809-4845-BB4E-F75588264E87}"/>
              </pc2:cmMkLst>
            </pc226:cmChg>
          </p:ext>
        </pc:extLst>
      </pc:sldChg>
      <pc:sldChg chg="addSp delSp modSp mod ord delCm">
        <pc:chgData name="Pablo Jorquera Armijo" userId="748fa91a-1513-4e73-b7d0-a531ef377bd1" providerId="ADAL" clId="{60179218-B70C-4D12-A09E-1BB385B297CD}" dt="2023-12-10T16:14:11.421" v="790" actId="255"/>
        <pc:sldMkLst>
          <pc:docMk/>
          <pc:sldMk cId="2876611663" sldId="2147471254"/>
        </pc:sldMkLst>
        <pc:spChg chg="add mod">
          <ac:chgData name="Pablo Jorquera Armijo" userId="748fa91a-1513-4e73-b7d0-a531ef377bd1" providerId="ADAL" clId="{60179218-B70C-4D12-A09E-1BB385B297CD}" dt="2023-12-10T16:14:11.421" v="790" actId="255"/>
          <ac:spMkLst>
            <pc:docMk/>
            <pc:sldMk cId="2876611663" sldId="2147471254"/>
            <ac:spMk id="2" creationId="{36E6127E-B698-1C4C-3FEC-34338C0E05F0}"/>
          </ac:spMkLst>
        </pc:spChg>
        <pc:spChg chg="del mod">
          <ac:chgData name="Pablo Jorquera Armijo" userId="748fa91a-1513-4e73-b7d0-a531ef377bd1" providerId="ADAL" clId="{60179218-B70C-4D12-A09E-1BB385B297CD}" dt="2023-12-10T16:10:03.241" v="734" actId="478"/>
          <ac:spMkLst>
            <pc:docMk/>
            <pc:sldMk cId="2876611663" sldId="2147471254"/>
            <ac:spMk id="3" creationId="{00000000-0000-0000-0000-000000000000}"/>
          </ac:spMkLst>
        </pc:spChg>
        <pc:extLst>
          <p:ext xmlns:p="http://schemas.openxmlformats.org/presentationml/2006/main" uri="{D6D511B9-2390-475A-947B-AFAB55BFBCF1}">
            <pc226:cmChg xmlns:pc226="http://schemas.microsoft.com/office/powerpoint/2022/06/main/command" chg="del">
              <pc226:chgData name="Pablo Jorquera Armijo" userId="748fa91a-1513-4e73-b7d0-a531ef377bd1" providerId="ADAL" clId="{60179218-B70C-4D12-A09E-1BB385B297CD}" dt="2023-12-10T16:09:47.224" v="731"/>
              <pc2:cmMkLst xmlns:pc2="http://schemas.microsoft.com/office/powerpoint/2019/9/main/command">
                <pc:docMk/>
                <pc:sldMk cId="2876611663" sldId="2147471254"/>
                <pc2:cmMk id="{B6D8CAD0-5B94-45B1-BCF4-F9D5F93DD69F}"/>
              </pc2:cmMkLst>
            </pc226:cmChg>
          </p:ext>
        </pc:extLst>
      </pc:sldChg>
      <pc:sldChg chg="addSp delSp modSp del mod">
        <pc:chgData name="Pablo Jorquera Armijo" userId="748fa91a-1513-4e73-b7d0-a531ef377bd1" providerId="ADAL" clId="{60179218-B70C-4D12-A09E-1BB385B297CD}" dt="2023-12-11T15:47:48.416" v="1608" actId="47"/>
        <pc:sldMkLst>
          <pc:docMk/>
          <pc:sldMk cId="2355769858" sldId="2147471255"/>
        </pc:sldMkLst>
        <pc:spChg chg="mod">
          <ac:chgData name="Pablo Jorquera Armijo" userId="748fa91a-1513-4e73-b7d0-a531ef377bd1" providerId="ADAL" clId="{60179218-B70C-4D12-A09E-1BB385B297CD}" dt="2023-12-09T22:30:25.458" v="37" actId="14100"/>
          <ac:spMkLst>
            <pc:docMk/>
            <pc:sldMk cId="2355769858" sldId="2147471255"/>
            <ac:spMk id="3" creationId="{AB7A0FBE-7D12-47C2-7CD7-B05518A42D3D}"/>
          </ac:spMkLst>
        </pc:spChg>
        <pc:graphicFrameChg chg="add mod modGraphic">
          <ac:chgData name="Pablo Jorquera Armijo" userId="748fa91a-1513-4e73-b7d0-a531ef377bd1" providerId="ADAL" clId="{60179218-B70C-4D12-A09E-1BB385B297CD}" dt="2023-12-09T22:35:03.283" v="182" actId="12"/>
          <ac:graphicFrameMkLst>
            <pc:docMk/>
            <pc:sldMk cId="2355769858" sldId="2147471255"/>
            <ac:graphicFrameMk id="2" creationId="{2F066AC0-247D-BE52-7D02-E1FB81EC3C0A}"/>
          </ac:graphicFrameMkLst>
        </pc:graphicFrameChg>
        <pc:graphicFrameChg chg="mod modGraphic">
          <ac:chgData name="Pablo Jorquera Armijo" userId="748fa91a-1513-4e73-b7d0-a531ef377bd1" providerId="ADAL" clId="{60179218-B70C-4D12-A09E-1BB385B297CD}" dt="2023-12-10T16:50:11.608" v="1393" actId="20577"/>
          <ac:graphicFrameMkLst>
            <pc:docMk/>
            <pc:sldMk cId="2355769858" sldId="2147471255"/>
            <ac:graphicFrameMk id="4" creationId="{4F399EFA-083B-1BB4-348A-415CD3500080}"/>
          </ac:graphicFrameMkLst>
        </pc:graphicFrameChg>
        <pc:graphicFrameChg chg="add del">
          <ac:chgData name="Pablo Jorquera Armijo" userId="748fa91a-1513-4e73-b7d0-a531ef377bd1" providerId="ADAL" clId="{60179218-B70C-4D12-A09E-1BB385B297CD}" dt="2023-12-09T22:32:20.293" v="149"/>
          <ac:graphicFrameMkLst>
            <pc:docMk/>
            <pc:sldMk cId="2355769858" sldId="2147471255"/>
            <ac:graphicFrameMk id="6" creationId="{0BE718AF-136E-EBAC-7EEB-5741D9E301DF}"/>
          </ac:graphicFrameMkLst>
        </pc:graphicFrameChg>
        <pc:graphicFrameChg chg="add del mod">
          <ac:chgData name="Pablo Jorquera Armijo" userId="748fa91a-1513-4e73-b7d0-a531ef377bd1" providerId="ADAL" clId="{60179218-B70C-4D12-A09E-1BB385B297CD}" dt="2023-12-09T22:33:21.278" v="159" actId="478"/>
          <ac:graphicFrameMkLst>
            <pc:docMk/>
            <pc:sldMk cId="2355769858" sldId="2147471255"/>
            <ac:graphicFrameMk id="8" creationId="{FEB3AC7F-9BB8-00FB-4762-BD149087A12B}"/>
          </ac:graphicFrameMkLst>
        </pc:graphicFrameChg>
      </pc:sldChg>
      <pc:sldChg chg="modSp mod addCm delCm modCm">
        <pc:chgData name="Pablo Jorquera Armijo" userId="748fa91a-1513-4e73-b7d0-a531ef377bd1" providerId="ADAL" clId="{60179218-B70C-4D12-A09E-1BB385B297CD}" dt="2023-12-11T19:17:42.600" v="1692"/>
        <pc:sldMkLst>
          <pc:docMk/>
          <pc:sldMk cId="1800313876" sldId="2147471256"/>
        </pc:sldMkLst>
        <pc:spChg chg="mod">
          <ac:chgData name="Pablo Jorquera Armijo" userId="748fa91a-1513-4e73-b7d0-a531ef377bd1" providerId="ADAL" clId="{60179218-B70C-4D12-A09E-1BB385B297CD}" dt="2023-12-11T17:48:50.598" v="1633" actId="13926"/>
          <ac:spMkLst>
            <pc:docMk/>
            <pc:sldMk cId="1800313876" sldId="2147471256"/>
            <ac:spMk id="3" creationId="{00000000-0000-0000-0000-000000000000}"/>
          </ac:spMkLst>
        </pc:spChg>
        <pc:extLst>
          <p:ext xmlns:p="http://schemas.openxmlformats.org/presentationml/2006/main" uri="{D6D511B9-2390-475A-947B-AFAB55BFBCF1}">
            <pc226:cmChg xmlns:pc226="http://schemas.microsoft.com/office/powerpoint/2022/06/main/command" chg="del mod">
              <pc226:chgData name="Pablo Jorquera Armijo" userId="748fa91a-1513-4e73-b7d0-a531ef377bd1" providerId="ADAL" clId="{60179218-B70C-4D12-A09E-1BB385B297CD}" dt="2023-12-11T19:17:40.679" v="1691"/>
              <pc2:cmMkLst xmlns:pc2="http://schemas.microsoft.com/office/powerpoint/2019/9/main/command">
                <pc:docMk/>
                <pc:sldMk cId="1800313876" sldId="2147471256"/>
                <pc2:cmMk id="{9A21E350-BCF3-4CE6-A175-A1BA58AEA4F6}"/>
              </pc2:cmMkLst>
            </pc226:cmChg>
            <pc226:cmChg xmlns:pc226="http://schemas.microsoft.com/office/powerpoint/2022/06/main/command" chg="add del mod">
              <pc226:chgData name="Pablo Jorquera Armijo" userId="748fa91a-1513-4e73-b7d0-a531ef377bd1" providerId="ADAL" clId="{60179218-B70C-4D12-A09E-1BB385B297CD}" dt="2023-12-11T19:17:42.600" v="1692"/>
              <pc2:cmMkLst xmlns:pc2="http://schemas.microsoft.com/office/powerpoint/2019/9/main/command">
                <pc:docMk/>
                <pc:sldMk cId="1800313876" sldId="2147471256"/>
                <pc2:cmMk id="{1DAE8F5B-0AB7-40CB-BC2D-1BDCBDBECAAC}"/>
              </pc2:cmMkLst>
            </pc226:cmChg>
          </p:ext>
        </pc:extLst>
      </pc:sldChg>
      <pc:sldChg chg="modSp mod delCm modCm">
        <pc:chgData name="Pablo Jorquera Armijo" userId="748fa91a-1513-4e73-b7d0-a531ef377bd1" providerId="ADAL" clId="{60179218-B70C-4D12-A09E-1BB385B297CD}" dt="2023-12-11T17:47:46.481" v="1628" actId="948"/>
        <pc:sldMkLst>
          <pc:docMk/>
          <pc:sldMk cId="905669304" sldId="2147471257"/>
        </pc:sldMkLst>
        <pc:spChg chg="mod">
          <ac:chgData name="Pablo Jorquera Armijo" userId="748fa91a-1513-4e73-b7d0-a531ef377bd1" providerId="ADAL" clId="{60179218-B70C-4D12-A09E-1BB385B297CD}" dt="2023-12-11T17:47:46.481" v="1628" actId="948"/>
          <ac:spMkLst>
            <pc:docMk/>
            <pc:sldMk cId="905669304" sldId="2147471257"/>
            <ac:spMk id="3" creationId="{00000000-0000-0000-0000-000000000000}"/>
          </ac:spMkLst>
        </pc:spChg>
        <pc:graphicFrameChg chg="mod modGraphic">
          <ac:chgData name="Pablo Jorquera Armijo" userId="748fa91a-1513-4e73-b7d0-a531ef377bd1" providerId="ADAL" clId="{60179218-B70C-4D12-A09E-1BB385B297CD}" dt="2023-12-11T13:51:56.706" v="1595" actId="2084"/>
          <ac:graphicFrameMkLst>
            <pc:docMk/>
            <pc:sldMk cId="905669304" sldId="2147471257"/>
            <ac:graphicFrameMk id="9" creationId="{6049B724-A37F-D3C2-3B53-1E260A1416DA}"/>
          </ac:graphicFrameMkLst>
        </pc:graphicFrameChg>
        <pc:extLst>
          <p:ext xmlns:p="http://schemas.openxmlformats.org/presentationml/2006/main" uri="{D6D511B9-2390-475A-947B-AFAB55BFBCF1}">
            <pc226:cmChg xmlns:pc226="http://schemas.microsoft.com/office/powerpoint/2022/06/main/command" chg="del mod">
              <pc226:chgData name="Pablo Jorquera Armijo" userId="748fa91a-1513-4e73-b7d0-a531ef377bd1" providerId="ADAL" clId="{60179218-B70C-4D12-A09E-1BB385B297CD}" dt="2023-12-10T16:04:47.971" v="594"/>
              <pc2:cmMkLst xmlns:pc2="http://schemas.microsoft.com/office/powerpoint/2019/9/main/command">
                <pc:docMk/>
                <pc:sldMk cId="905669304" sldId="2147471257"/>
                <pc2:cmMk id="{A47D6C62-7264-4830-8EC4-2CA07562AFDD}"/>
              </pc2:cmMkLst>
            </pc226:cmChg>
            <pc226:cmChg xmlns:pc226="http://schemas.microsoft.com/office/powerpoint/2022/06/main/command" chg="mod">
              <pc226:chgData name="Pablo Jorquera Armijo" userId="748fa91a-1513-4e73-b7d0-a531ef377bd1" providerId="ADAL" clId="{60179218-B70C-4D12-A09E-1BB385B297CD}" dt="2023-12-11T17:47:41.211" v="1627" actId="6549"/>
              <pc2:cmMkLst xmlns:pc2="http://schemas.microsoft.com/office/powerpoint/2019/9/main/command">
                <pc:docMk/>
                <pc:sldMk cId="905669304" sldId="2147471257"/>
                <pc2:cmMk id="{BB051470-6B4C-4E92-BF0E-93C19957AC30}"/>
              </pc2:cmMkLst>
            </pc226:cmChg>
          </p:ext>
        </pc:extLst>
      </pc:sldChg>
      <pc:sldChg chg="modSp modAnim delCm">
        <pc:chgData name="Pablo Jorquera Armijo" userId="748fa91a-1513-4e73-b7d0-a531ef377bd1" providerId="ADAL" clId="{60179218-B70C-4D12-A09E-1BB385B297CD}" dt="2023-12-11T19:15:17.865" v="1687"/>
        <pc:sldMkLst>
          <pc:docMk/>
          <pc:sldMk cId="2951709829" sldId="2147471258"/>
        </pc:sldMkLst>
        <pc:spChg chg="mod">
          <ac:chgData name="Pablo Jorquera Armijo" userId="748fa91a-1513-4e73-b7d0-a531ef377bd1" providerId="ADAL" clId="{60179218-B70C-4D12-A09E-1BB385B297CD}" dt="2023-12-10T16:11:28.937" v="751" actId="6549"/>
          <ac:spMkLst>
            <pc:docMk/>
            <pc:sldMk cId="2951709829" sldId="2147471258"/>
            <ac:spMk id="4" creationId="{00000000-0000-0000-0000-000000000000}"/>
          </ac:spMkLst>
        </pc:spChg>
        <pc:extLst>
          <p:ext xmlns:p="http://schemas.openxmlformats.org/presentationml/2006/main" uri="{D6D511B9-2390-475A-947B-AFAB55BFBCF1}">
            <pc226:cmChg xmlns:pc226="http://schemas.microsoft.com/office/powerpoint/2022/06/main/command" chg="del">
              <pc226:chgData name="Pablo Jorquera Armijo" userId="748fa91a-1513-4e73-b7d0-a531ef377bd1" providerId="ADAL" clId="{60179218-B70C-4D12-A09E-1BB385B297CD}" dt="2023-12-11T19:15:12.734" v="1685"/>
              <pc2:cmMkLst xmlns:pc2="http://schemas.microsoft.com/office/powerpoint/2019/9/main/command">
                <pc:docMk/>
                <pc:sldMk cId="2951709829" sldId="2147471258"/>
                <pc2:cmMk id="{75280FE2-0AA4-4B5B-90B7-00187AB86C5C}"/>
              </pc2:cmMkLst>
            </pc226:cmChg>
            <pc226:cmChg xmlns:pc226="http://schemas.microsoft.com/office/powerpoint/2022/06/main/command" chg="del">
              <pc226:chgData name="Pablo Jorquera Armijo" userId="748fa91a-1513-4e73-b7d0-a531ef377bd1" providerId="ADAL" clId="{60179218-B70C-4D12-A09E-1BB385B297CD}" dt="2023-12-11T19:15:13.621" v="1686"/>
              <pc2:cmMkLst xmlns:pc2="http://schemas.microsoft.com/office/powerpoint/2019/9/main/command">
                <pc:docMk/>
                <pc:sldMk cId="2951709829" sldId="2147471258"/>
                <pc2:cmMk id="{B8E109F8-D70B-4F98-A4EF-A36014C630FE}"/>
              </pc2:cmMkLst>
            </pc226:cmChg>
          </p:ext>
        </pc:extLst>
      </pc:sldChg>
      <pc:sldChg chg="modSp add mod">
        <pc:chgData name="Pablo Jorquera Armijo" userId="748fa91a-1513-4e73-b7d0-a531ef377bd1" providerId="ADAL" clId="{60179218-B70C-4D12-A09E-1BB385B297CD}" dt="2023-12-11T18:32:00.287" v="1679" actId="404"/>
        <pc:sldMkLst>
          <pc:docMk/>
          <pc:sldMk cId="3736298817" sldId="2147471259"/>
        </pc:sldMkLst>
        <pc:spChg chg="mod">
          <ac:chgData name="Pablo Jorquera Armijo" userId="748fa91a-1513-4e73-b7d0-a531ef377bd1" providerId="ADAL" clId="{60179218-B70C-4D12-A09E-1BB385B297CD}" dt="2023-12-11T18:32:00.287" v="1679" actId="404"/>
          <ac:spMkLst>
            <pc:docMk/>
            <pc:sldMk cId="3736298817" sldId="2147471259"/>
            <ac:spMk id="3" creationId="{00000000-0000-0000-0000-000000000000}"/>
          </ac:spMkLst>
        </pc:spChg>
      </pc:sldChg>
      <pc:sldChg chg="addSp modSp mod">
        <pc:chgData name="Pablo Jorquera Armijo" userId="748fa91a-1513-4e73-b7d0-a531ef377bd1" providerId="ADAL" clId="{60179218-B70C-4D12-A09E-1BB385B297CD}" dt="2023-12-11T18:05:13.109" v="1666" actId="14100"/>
        <pc:sldMkLst>
          <pc:docMk/>
          <pc:sldMk cId="727067092" sldId="2147471260"/>
        </pc:sldMkLst>
        <pc:graphicFrameChg chg="add mod modGraphic">
          <ac:chgData name="Pablo Jorquera Armijo" userId="748fa91a-1513-4e73-b7d0-a531ef377bd1" providerId="ADAL" clId="{60179218-B70C-4D12-A09E-1BB385B297CD}" dt="2023-12-11T18:04:15.809" v="1650" actId="404"/>
          <ac:graphicFrameMkLst>
            <pc:docMk/>
            <pc:sldMk cId="727067092" sldId="2147471260"/>
            <ac:graphicFrameMk id="2" creationId="{792BD675-9F69-674D-DCBE-62CA5706E06F}"/>
          </ac:graphicFrameMkLst>
        </pc:graphicFrameChg>
        <pc:graphicFrameChg chg="add mod modGraphic">
          <ac:chgData name="Pablo Jorquera Armijo" userId="748fa91a-1513-4e73-b7d0-a531ef377bd1" providerId="ADAL" clId="{60179218-B70C-4D12-A09E-1BB385B297CD}" dt="2023-12-11T18:04:27.620" v="1655" actId="1076"/>
          <ac:graphicFrameMkLst>
            <pc:docMk/>
            <pc:sldMk cId="727067092" sldId="2147471260"/>
            <ac:graphicFrameMk id="4" creationId="{2DD0B1E3-800E-8BD9-64EC-34326D6886D7}"/>
          </ac:graphicFrameMkLst>
        </pc:graphicFrameChg>
        <pc:graphicFrameChg chg="mod modGraphic">
          <ac:chgData name="Pablo Jorquera Armijo" userId="748fa91a-1513-4e73-b7d0-a531ef377bd1" providerId="ADAL" clId="{60179218-B70C-4D12-A09E-1BB385B297CD}" dt="2023-12-11T18:04:24.847" v="1654" actId="20577"/>
          <ac:graphicFrameMkLst>
            <pc:docMk/>
            <pc:sldMk cId="727067092" sldId="2147471260"/>
            <ac:graphicFrameMk id="6" creationId="{E0F41273-9EF2-3555-7EA8-82BBDF26744C}"/>
          </ac:graphicFrameMkLst>
        </pc:graphicFrameChg>
        <pc:graphicFrameChg chg="mod modGraphic">
          <ac:chgData name="Pablo Jorquera Armijo" userId="748fa91a-1513-4e73-b7d0-a531ef377bd1" providerId="ADAL" clId="{60179218-B70C-4D12-A09E-1BB385B297CD}" dt="2023-12-11T18:05:13.109" v="1666" actId="14100"/>
          <ac:graphicFrameMkLst>
            <pc:docMk/>
            <pc:sldMk cId="727067092" sldId="2147471260"/>
            <ac:graphicFrameMk id="14" creationId="{912526FA-C5EF-D8A1-E816-EFECB5624A1D}"/>
          </ac:graphicFrameMkLst>
        </pc:graphicFrameChg>
        <pc:graphicFrameChg chg="mod modGraphic">
          <ac:chgData name="Pablo Jorquera Armijo" userId="748fa91a-1513-4e73-b7d0-a531ef377bd1" providerId="ADAL" clId="{60179218-B70C-4D12-A09E-1BB385B297CD}" dt="2023-12-11T13:19:56.530" v="1542" actId="1076"/>
          <ac:graphicFrameMkLst>
            <pc:docMk/>
            <pc:sldMk cId="727067092" sldId="2147471260"/>
            <ac:graphicFrameMk id="15" creationId="{DE9F74D8-1B02-DF08-FC0D-81AD0780257A}"/>
          </ac:graphicFrameMkLst>
        </pc:graphicFrameChg>
      </pc:sldChg>
      <pc:sldChg chg="modSp mod ord">
        <pc:chgData name="Pablo Jorquera Armijo" userId="748fa91a-1513-4e73-b7d0-a531ef377bd1" providerId="ADAL" clId="{60179218-B70C-4D12-A09E-1BB385B297CD}" dt="2023-12-11T18:05:48.845" v="1676" actId="20577"/>
        <pc:sldMkLst>
          <pc:docMk/>
          <pc:sldMk cId="474913927" sldId="2147471261"/>
        </pc:sldMkLst>
        <pc:spChg chg="mod">
          <ac:chgData name="Pablo Jorquera Armijo" userId="748fa91a-1513-4e73-b7d0-a531ef377bd1" providerId="ADAL" clId="{60179218-B70C-4D12-A09E-1BB385B297CD}" dt="2023-12-11T18:05:48.845" v="1676" actId="20577"/>
          <ac:spMkLst>
            <pc:docMk/>
            <pc:sldMk cId="474913927" sldId="2147471261"/>
            <ac:spMk id="8" creationId="{A8D67202-1888-4DCF-8E69-1CAD61C6FA27}"/>
          </ac:spMkLst>
        </pc:spChg>
      </pc:sldChg>
    </pc:docChg>
  </pc:docChgLst>
  <pc:docChgLst>
    <pc:chgData name="Tania Hernández J" userId="addba336-7181-437c-9483-cb0541d012b2" providerId="ADAL" clId="{3E18673B-246C-4BD2-A8F2-AC81FA39F1C8}"/>
    <pc:docChg chg="undo custSel addSld delSld modSld sldOrd">
      <pc:chgData name="Tania Hernández J" userId="addba336-7181-437c-9483-cb0541d012b2" providerId="ADAL" clId="{3E18673B-246C-4BD2-A8F2-AC81FA39F1C8}" dt="2023-12-10T20:09:35.743" v="631"/>
      <pc:docMkLst>
        <pc:docMk/>
      </pc:docMkLst>
      <pc:sldChg chg="addSp delSp modSp mod modAnim">
        <pc:chgData name="Tania Hernández J" userId="addba336-7181-437c-9483-cb0541d012b2" providerId="ADAL" clId="{3E18673B-246C-4BD2-A8F2-AC81FA39F1C8}" dt="2023-12-10T15:11:57.226" v="181" actId="6549"/>
        <pc:sldMkLst>
          <pc:docMk/>
          <pc:sldMk cId="877613551" sldId="276"/>
        </pc:sldMkLst>
        <pc:spChg chg="mod">
          <ac:chgData name="Tania Hernández J" userId="addba336-7181-437c-9483-cb0541d012b2" providerId="ADAL" clId="{3E18673B-246C-4BD2-A8F2-AC81FA39F1C8}" dt="2023-12-10T15:11:57.226" v="181" actId="6549"/>
          <ac:spMkLst>
            <pc:docMk/>
            <pc:sldMk cId="877613551" sldId="276"/>
            <ac:spMk id="4" creationId="{00000000-0000-0000-0000-000000000000}"/>
          </ac:spMkLst>
        </pc:spChg>
        <pc:spChg chg="add del">
          <ac:chgData name="Tania Hernández J" userId="addba336-7181-437c-9483-cb0541d012b2" providerId="ADAL" clId="{3E18673B-246C-4BD2-A8F2-AC81FA39F1C8}" dt="2023-12-10T15:11:09.565" v="177" actId="22"/>
          <ac:spMkLst>
            <pc:docMk/>
            <pc:sldMk cId="877613551" sldId="276"/>
            <ac:spMk id="6" creationId="{3350FD41-1060-E06A-0D66-EE18A9CDA1C2}"/>
          </ac:spMkLst>
        </pc:spChg>
      </pc:sldChg>
      <pc:sldChg chg="modSp mod addCm modCm">
        <pc:chgData name="Tania Hernández J" userId="addba336-7181-437c-9483-cb0541d012b2" providerId="ADAL" clId="{3E18673B-246C-4BD2-A8F2-AC81FA39F1C8}" dt="2023-12-10T19:50:33.983" v="587"/>
        <pc:sldMkLst>
          <pc:docMk/>
          <pc:sldMk cId="2684714154" sldId="279"/>
        </pc:sldMkLst>
        <pc:spChg chg="mod">
          <ac:chgData name="Tania Hernández J" userId="addba336-7181-437c-9483-cb0541d012b2" providerId="ADAL" clId="{3E18673B-246C-4BD2-A8F2-AC81FA39F1C8}" dt="2023-12-10T19:50:10.507" v="586" actId="20577"/>
          <ac:spMkLst>
            <pc:docMk/>
            <pc:sldMk cId="2684714154" sldId="279"/>
            <ac:spMk id="10" creationId="{D4F7E8F5-E4BD-4C84-9193-C9A4821F1140}"/>
          </ac:spMkLst>
        </pc:spChg>
        <pc:extLst>
          <p:ext xmlns:p="http://schemas.openxmlformats.org/presentationml/2006/main" uri="{D6D511B9-2390-475A-947B-AFAB55BFBCF1}">
            <pc226:cmChg xmlns:pc226="http://schemas.microsoft.com/office/powerpoint/2022/06/main/command" chg="add mod">
              <pc226:chgData name="Tania Hernández J" userId="addba336-7181-437c-9483-cb0541d012b2" providerId="ADAL" clId="{3E18673B-246C-4BD2-A8F2-AC81FA39F1C8}" dt="2023-12-10T19:50:33.983" v="587"/>
              <pc2:cmMkLst xmlns:pc2="http://schemas.microsoft.com/office/powerpoint/2019/9/main/command">
                <pc:docMk/>
                <pc:sldMk cId="2684714154" sldId="279"/>
                <pc2:cmMk id="{3E7484C8-E0C9-4883-B1B4-71082673AE2E}"/>
              </pc2:cmMkLst>
              <pc226:cmRplyChg chg="add">
                <pc226:chgData name="Tania Hernández J" userId="addba336-7181-437c-9483-cb0541d012b2" providerId="ADAL" clId="{3E18673B-246C-4BD2-A8F2-AC81FA39F1C8}" dt="2023-12-10T19:50:33.983" v="587"/>
                <pc2:cmRplyMkLst xmlns:pc2="http://schemas.microsoft.com/office/powerpoint/2019/9/main/command">
                  <pc:docMk/>
                  <pc:sldMk cId="2684714154" sldId="279"/>
                  <pc2:cmMk id="{3E7484C8-E0C9-4883-B1B4-71082673AE2E}"/>
                  <pc2:cmRplyMk id="{74DE9C3D-0B25-4C29-8B28-AAAE0FA9696E}"/>
                </pc2:cmRplyMkLst>
              </pc226:cmRplyChg>
            </pc226:cmChg>
          </p:ext>
        </pc:extLst>
      </pc:sldChg>
      <pc:sldChg chg="modCm">
        <pc:chgData name="Tania Hernández J" userId="addba336-7181-437c-9483-cb0541d012b2" providerId="ADAL" clId="{3E18673B-246C-4BD2-A8F2-AC81FA39F1C8}" dt="2023-12-10T14:47:49.310" v="84"/>
        <pc:sldMkLst>
          <pc:docMk/>
          <pc:sldMk cId="1286877226" sldId="282"/>
        </pc:sldMkLst>
        <pc:extLst>
          <p:ext xmlns:p="http://schemas.openxmlformats.org/presentationml/2006/main" uri="{D6D511B9-2390-475A-947B-AFAB55BFBCF1}">
            <pc226:cmChg xmlns:pc226="http://schemas.microsoft.com/office/powerpoint/2022/06/main/command" chg="">
              <pc226:chgData name="Tania Hernández J" userId="addba336-7181-437c-9483-cb0541d012b2" providerId="ADAL" clId="{3E18673B-246C-4BD2-A8F2-AC81FA39F1C8}" dt="2023-12-10T14:45:00.774" v="70"/>
              <pc2:cmMkLst xmlns:pc2="http://schemas.microsoft.com/office/powerpoint/2019/9/main/command">
                <pc:docMk/>
                <pc:sldMk cId="1286877226" sldId="282"/>
                <pc2:cmMk id="{BCFFEC29-587B-48C8-81EE-7BE9D600AB15}"/>
              </pc2:cmMkLst>
              <pc226:cmRplyChg chg="add">
                <pc226:chgData name="Tania Hernández J" userId="addba336-7181-437c-9483-cb0541d012b2" providerId="ADAL" clId="{3E18673B-246C-4BD2-A8F2-AC81FA39F1C8}" dt="2023-12-10T14:45:00.774" v="70"/>
                <pc2:cmRplyMkLst xmlns:pc2="http://schemas.microsoft.com/office/powerpoint/2019/9/main/command">
                  <pc:docMk/>
                  <pc:sldMk cId="1286877226" sldId="282"/>
                  <pc2:cmMk id="{BCFFEC29-587B-48C8-81EE-7BE9D600AB15}"/>
                  <pc2:cmRplyMk id="{A1F7C522-B423-4F03-A735-3BE9624764E8}"/>
                </pc2:cmRplyMkLst>
              </pc226:cmRplyChg>
            </pc226:cmChg>
            <pc226:cmChg xmlns:pc226="http://schemas.microsoft.com/office/powerpoint/2022/06/main/command" chg="">
              <pc226:chgData name="Tania Hernández J" userId="addba336-7181-437c-9483-cb0541d012b2" providerId="ADAL" clId="{3E18673B-246C-4BD2-A8F2-AC81FA39F1C8}" dt="2023-12-10T14:47:49.310" v="84"/>
              <pc2:cmMkLst xmlns:pc2="http://schemas.microsoft.com/office/powerpoint/2019/9/main/command">
                <pc:docMk/>
                <pc:sldMk cId="1286877226" sldId="282"/>
                <pc2:cmMk id="{25DC0942-7CE3-4DE9-B1FF-1306C4A0011A}"/>
              </pc2:cmMkLst>
              <pc226:cmRplyChg chg="add mod">
                <pc226:chgData name="Tania Hernández J" userId="addba336-7181-437c-9483-cb0541d012b2" providerId="ADAL" clId="{3E18673B-246C-4BD2-A8F2-AC81FA39F1C8}" dt="2023-12-10T14:47:49.310" v="84"/>
                <pc2:cmRplyMkLst xmlns:pc2="http://schemas.microsoft.com/office/powerpoint/2019/9/main/command">
                  <pc:docMk/>
                  <pc:sldMk cId="1286877226" sldId="282"/>
                  <pc2:cmMk id="{25DC0942-7CE3-4DE9-B1FF-1306C4A0011A}"/>
                  <pc2:cmRplyMk id="{82AF0D29-414F-4627-8560-8AD21F7C7C25}"/>
                </pc2:cmRplyMkLst>
              </pc226:cmRplyChg>
            </pc226:cmChg>
          </p:ext>
        </pc:extLst>
      </pc:sldChg>
      <pc:sldChg chg="modSp mod addCm modCm">
        <pc:chgData name="Tania Hernández J" userId="addba336-7181-437c-9483-cb0541d012b2" providerId="ADAL" clId="{3E18673B-246C-4BD2-A8F2-AC81FA39F1C8}" dt="2023-12-10T15:04:23.374" v="171"/>
        <pc:sldMkLst>
          <pc:docMk/>
          <pc:sldMk cId="4279748001" sldId="302"/>
        </pc:sldMkLst>
        <pc:spChg chg="mod">
          <ac:chgData name="Tania Hernández J" userId="addba336-7181-437c-9483-cb0541d012b2" providerId="ADAL" clId="{3E18673B-246C-4BD2-A8F2-AC81FA39F1C8}" dt="2023-12-10T15:03:40.378" v="170" actId="13926"/>
          <ac:spMkLst>
            <pc:docMk/>
            <pc:sldMk cId="4279748001" sldId="302"/>
            <ac:spMk id="3" creationId="{00000000-0000-0000-0000-000000000000}"/>
          </ac:spMkLst>
        </pc:spChg>
        <pc:extLst>
          <p:ext xmlns:p="http://schemas.openxmlformats.org/presentationml/2006/main" uri="{D6D511B9-2390-475A-947B-AFAB55BFBCF1}">
            <pc226:cmChg xmlns:pc226="http://schemas.microsoft.com/office/powerpoint/2022/06/main/command" chg="mod">
              <pc226:chgData name="Tania Hernández J" userId="addba336-7181-437c-9483-cb0541d012b2" providerId="ADAL" clId="{3E18673B-246C-4BD2-A8F2-AC81FA39F1C8}" dt="2023-12-10T15:03:35.578" v="169" actId="20577"/>
              <pc2:cmMkLst xmlns:pc2="http://schemas.microsoft.com/office/powerpoint/2019/9/main/command">
                <pc:docMk/>
                <pc:sldMk cId="4279748001" sldId="302"/>
                <pc2:cmMk id="{E427E80D-03EC-4B83-9304-48BCA48313CE}"/>
              </pc2:cmMkLst>
            </pc226:cmChg>
            <pc226:cmChg xmlns:pc226="http://schemas.microsoft.com/office/powerpoint/2022/06/main/command" chg="add">
              <pc226:chgData name="Tania Hernández J" userId="addba336-7181-437c-9483-cb0541d012b2" providerId="ADAL" clId="{3E18673B-246C-4BD2-A8F2-AC81FA39F1C8}" dt="2023-12-10T15:04:23.374" v="171"/>
              <pc2:cmMkLst xmlns:pc2="http://schemas.microsoft.com/office/powerpoint/2019/9/main/command">
                <pc:docMk/>
                <pc:sldMk cId="4279748001" sldId="302"/>
                <pc2:cmMk id="{6B8128A9-933C-4C9D-92DA-063979610704}"/>
              </pc2:cmMkLst>
            </pc226:cmChg>
            <pc226:cmChg xmlns:pc226="http://schemas.microsoft.com/office/powerpoint/2022/06/main/command" chg="mod">
              <pc226:chgData name="Tania Hernández J" userId="addba336-7181-437c-9483-cb0541d012b2" providerId="ADAL" clId="{3E18673B-246C-4BD2-A8F2-AC81FA39F1C8}" dt="2023-12-10T15:03:35.578" v="169" actId="20577"/>
              <pc2:cmMkLst xmlns:pc2="http://schemas.microsoft.com/office/powerpoint/2019/9/main/command">
                <pc:docMk/>
                <pc:sldMk cId="4279748001" sldId="302"/>
                <pc2:cmMk id="{FB8F51DA-4259-450E-9380-063F15D45C17}"/>
              </pc2:cmMkLst>
            </pc226:cmChg>
          </p:ext>
        </pc:extLst>
      </pc:sldChg>
      <pc:sldChg chg="modSp mod addCm">
        <pc:chgData name="Tania Hernández J" userId="addba336-7181-437c-9483-cb0541d012b2" providerId="ADAL" clId="{3E18673B-246C-4BD2-A8F2-AC81FA39F1C8}" dt="2023-12-10T14:37:44.049" v="59"/>
        <pc:sldMkLst>
          <pc:docMk/>
          <pc:sldMk cId="3271780845" sldId="10403"/>
        </pc:sldMkLst>
        <pc:spChg chg="mod">
          <ac:chgData name="Tania Hernández J" userId="addba336-7181-437c-9483-cb0541d012b2" providerId="ADAL" clId="{3E18673B-246C-4BD2-A8F2-AC81FA39F1C8}" dt="2023-12-10T14:37:10.191" v="58" actId="6549"/>
          <ac:spMkLst>
            <pc:docMk/>
            <pc:sldMk cId="3271780845" sldId="10403"/>
            <ac:spMk id="8" creationId="{475EA3C9-3F03-3CA4-FC58-5E2F3FA20896}"/>
          </ac:spMkLst>
        </pc:spChg>
        <pc:extLst>
          <p:ext xmlns:p="http://schemas.openxmlformats.org/presentationml/2006/main" uri="{D6D511B9-2390-475A-947B-AFAB55BFBCF1}">
            <pc226:cmChg xmlns:pc226="http://schemas.microsoft.com/office/powerpoint/2022/06/main/command" chg="add">
              <pc226:chgData name="Tania Hernández J" userId="addba336-7181-437c-9483-cb0541d012b2" providerId="ADAL" clId="{3E18673B-246C-4BD2-A8F2-AC81FA39F1C8}" dt="2023-12-10T14:37:44.049" v="59"/>
              <pc2:cmMkLst xmlns:pc2="http://schemas.microsoft.com/office/powerpoint/2019/9/main/command">
                <pc:docMk/>
                <pc:sldMk cId="3271780845" sldId="10403"/>
                <pc2:cmMk id="{A343982B-1C7D-484B-B83F-D992276D9F3B}"/>
              </pc2:cmMkLst>
            </pc226:cmChg>
          </p:ext>
        </pc:extLst>
      </pc:sldChg>
      <pc:sldChg chg="add del">
        <pc:chgData name="Tania Hernández J" userId="addba336-7181-437c-9483-cb0541d012b2" providerId="ADAL" clId="{3E18673B-246C-4BD2-A8F2-AC81FA39F1C8}" dt="2023-12-10T15:34:31.121" v="524" actId="47"/>
        <pc:sldMkLst>
          <pc:docMk/>
          <pc:sldMk cId="946714700" sldId="10404"/>
        </pc:sldMkLst>
      </pc:sldChg>
      <pc:sldChg chg="modSp mod addCm delCm">
        <pc:chgData name="Tania Hernández J" userId="addba336-7181-437c-9483-cb0541d012b2" providerId="ADAL" clId="{3E18673B-246C-4BD2-A8F2-AC81FA39F1C8}" dt="2023-12-10T15:16:26.737" v="478" actId="13926"/>
        <pc:sldMkLst>
          <pc:docMk/>
          <pc:sldMk cId="2006891235" sldId="2147471245"/>
        </pc:sldMkLst>
        <pc:spChg chg="mod">
          <ac:chgData name="Tania Hernández J" userId="addba336-7181-437c-9483-cb0541d012b2" providerId="ADAL" clId="{3E18673B-246C-4BD2-A8F2-AC81FA39F1C8}" dt="2023-12-10T15:16:26.737" v="478" actId="13926"/>
          <ac:spMkLst>
            <pc:docMk/>
            <pc:sldMk cId="2006891235" sldId="2147471245"/>
            <ac:spMk id="3" creationId="{00000000-0000-0000-0000-000000000000}"/>
          </ac:spMkLst>
        </pc:spChg>
        <pc:extLst>
          <p:ext xmlns:p="http://schemas.openxmlformats.org/presentationml/2006/main" uri="{D6D511B9-2390-475A-947B-AFAB55BFBCF1}">
            <pc226:cmChg xmlns:pc226="http://schemas.microsoft.com/office/powerpoint/2022/06/main/command" chg="add">
              <pc226:chgData name="Tania Hernández J" userId="addba336-7181-437c-9483-cb0541d012b2" providerId="ADAL" clId="{3E18673B-246C-4BD2-A8F2-AC81FA39F1C8}" dt="2023-12-10T15:14:52.151" v="475"/>
              <pc2:cmMkLst xmlns:pc2="http://schemas.microsoft.com/office/powerpoint/2019/9/main/command">
                <pc:docMk/>
                <pc:sldMk cId="2006891235" sldId="2147471245"/>
                <pc2:cmMk id="{B8CF29A8-6637-4133-87C0-C7423378BDA6}"/>
              </pc2:cmMkLst>
            </pc226:cmChg>
            <pc226:cmChg xmlns:pc226="http://schemas.microsoft.com/office/powerpoint/2022/06/main/command" chg="add del">
              <pc226:chgData name="Tania Hernández J" userId="addba336-7181-437c-9483-cb0541d012b2" providerId="ADAL" clId="{3E18673B-246C-4BD2-A8F2-AC81FA39F1C8}" dt="2023-12-10T15:07:16.893" v="174"/>
              <pc2:cmMkLst xmlns:pc2="http://schemas.microsoft.com/office/powerpoint/2019/9/main/command">
                <pc:docMk/>
                <pc:sldMk cId="2006891235" sldId="2147471245"/>
                <pc2:cmMk id="{BD7004B6-D608-4317-972B-DA51C1A0BA05}"/>
              </pc2:cmMkLst>
            </pc226:cmChg>
            <pc226:cmChg xmlns:pc226="http://schemas.microsoft.com/office/powerpoint/2022/06/main/command" chg="add del">
              <pc226:chgData name="Tania Hernández J" userId="addba336-7181-437c-9483-cb0541d012b2" providerId="ADAL" clId="{3E18673B-246C-4BD2-A8F2-AC81FA39F1C8}" dt="2023-12-10T15:07:17.379" v="175"/>
              <pc2:cmMkLst xmlns:pc2="http://schemas.microsoft.com/office/powerpoint/2019/9/main/command">
                <pc:docMk/>
                <pc:sldMk cId="2006891235" sldId="2147471245"/>
                <pc2:cmMk id="{56C50BD5-E272-47FC-8CD1-689BD58BC20F}"/>
              </pc2:cmMkLst>
            </pc226:cmChg>
          </p:ext>
        </pc:extLst>
      </pc:sldChg>
      <pc:sldChg chg="modSp mod">
        <pc:chgData name="Tania Hernández J" userId="addba336-7181-437c-9483-cb0541d012b2" providerId="ADAL" clId="{3E18673B-246C-4BD2-A8F2-AC81FA39F1C8}" dt="2023-12-10T15:20:19.202" v="516" actId="20577"/>
        <pc:sldMkLst>
          <pc:docMk/>
          <pc:sldMk cId="4172540067" sldId="2147471246"/>
        </pc:sldMkLst>
        <pc:spChg chg="mod">
          <ac:chgData name="Tania Hernández J" userId="addba336-7181-437c-9483-cb0541d012b2" providerId="ADAL" clId="{3E18673B-246C-4BD2-A8F2-AC81FA39F1C8}" dt="2023-12-10T15:20:19.202" v="516" actId="20577"/>
          <ac:spMkLst>
            <pc:docMk/>
            <pc:sldMk cId="4172540067" sldId="2147471246"/>
            <ac:spMk id="3" creationId="{00000000-0000-0000-0000-000000000000}"/>
          </ac:spMkLst>
        </pc:spChg>
      </pc:sldChg>
      <pc:sldChg chg="modSp mod addCm">
        <pc:chgData name="Tania Hernández J" userId="addba336-7181-437c-9483-cb0541d012b2" providerId="ADAL" clId="{3E18673B-246C-4BD2-A8F2-AC81FA39F1C8}" dt="2023-12-10T19:53:58.263" v="630"/>
        <pc:sldMkLst>
          <pc:docMk/>
          <pc:sldMk cId="4293016435" sldId="2147471247"/>
        </pc:sldMkLst>
        <pc:spChg chg="mod">
          <ac:chgData name="Tania Hernández J" userId="addba336-7181-437c-9483-cb0541d012b2" providerId="ADAL" clId="{3E18673B-246C-4BD2-A8F2-AC81FA39F1C8}" dt="2023-12-10T19:53:44.552" v="629" actId="20577"/>
          <ac:spMkLst>
            <pc:docMk/>
            <pc:sldMk cId="4293016435" sldId="2147471247"/>
            <ac:spMk id="3" creationId="{00000000-0000-0000-0000-000000000000}"/>
          </ac:spMkLst>
        </pc:spChg>
        <pc:extLst>
          <p:ext xmlns:p="http://schemas.openxmlformats.org/presentationml/2006/main" uri="{D6D511B9-2390-475A-947B-AFAB55BFBCF1}">
            <pc226:cmChg xmlns:pc226="http://schemas.microsoft.com/office/powerpoint/2022/06/main/command" chg="add">
              <pc226:chgData name="Tania Hernández J" userId="addba336-7181-437c-9483-cb0541d012b2" providerId="ADAL" clId="{3E18673B-246C-4BD2-A8F2-AC81FA39F1C8}" dt="2023-12-10T19:53:58.263" v="630"/>
              <pc2:cmMkLst xmlns:pc2="http://schemas.microsoft.com/office/powerpoint/2019/9/main/command">
                <pc:docMk/>
                <pc:sldMk cId="4293016435" sldId="2147471247"/>
                <pc2:cmMk id="{74340615-8C1A-49CA-BD29-4998895AE4C4}"/>
              </pc2:cmMkLst>
            </pc226:cmChg>
          </p:ext>
        </pc:extLst>
      </pc:sldChg>
      <pc:sldChg chg="addCm">
        <pc:chgData name="Tania Hernández J" userId="addba336-7181-437c-9483-cb0541d012b2" providerId="ADAL" clId="{3E18673B-246C-4BD2-A8F2-AC81FA39F1C8}" dt="2023-12-10T15:30:53.472" v="522"/>
        <pc:sldMkLst>
          <pc:docMk/>
          <pc:sldMk cId="3022009777" sldId="2147471253"/>
        </pc:sldMkLst>
        <pc:extLst>
          <p:ext xmlns:p="http://schemas.openxmlformats.org/presentationml/2006/main" uri="{D6D511B9-2390-475A-947B-AFAB55BFBCF1}">
            <pc226:cmChg xmlns:pc226="http://schemas.microsoft.com/office/powerpoint/2022/06/main/command" chg="add">
              <pc226:chgData name="Tania Hernández J" userId="addba336-7181-437c-9483-cb0541d012b2" providerId="ADAL" clId="{3E18673B-246C-4BD2-A8F2-AC81FA39F1C8}" dt="2023-12-10T15:30:53.472" v="522"/>
              <pc2:cmMkLst xmlns:pc2="http://schemas.microsoft.com/office/powerpoint/2019/9/main/command">
                <pc:docMk/>
                <pc:sldMk cId="3022009777" sldId="2147471253"/>
                <pc2:cmMk id="{34C88E09-B809-4845-BB4E-F75588264E87}"/>
              </pc2:cmMkLst>
            </pc226:cmChg>
          </p:ext>
        </pc:extLst>
      </pc:sldChg>
      <pc:sldChg chg="modSp mod addCm modCm">
        <pc:chgData name="Tania Hernández J" userId="addba336-7181-437c-9483-cb0541d012b2" providerId="ADAL" clId="{3E18673B-246C-4BD2-A8F2-AC81FA39F1C8}" dt="2023-12-10T15:16:36.211" v="479" actId="13926"/>
        <pc:sldMkLst>
          <pc:docMk/>
          <pc:sldMk cId="2876611663" sldId="2147471254"/>
        </pc:sldMkLst>
        <pc:spChg chg="mod">
          <ac:chgData name="Tania Hernández J" userId="addba336-7181-437c-9483-cb0541d012b2" providerId="ADAL" clId="{3E18673B-246C-4BD2-A8F2-AC81FA39F1C8}" dt="2023-12-10T15:16:36.211" v="479" actId="13926"/>
          <ac:spMkLst>
            <pc:docMk/>
            <pc:sldMk cId="2876611663" sldId="2147471254"/>
            <ac:spMk id="3" creationId="{00000000-0000-0000-0000-000000000000}"/>
          </ac:spMkLst>
        </pc:spChg>
        <pc:extLst>
          <p:ext xmlns:p="http://schemas.openxmlformats.org/presentationml/2006/main" uri="{D6D511B9-2390-475A-947B-AFAB55BFBCF1}">
            <pc226:cmChg xmlns:pc226="http://schemas.microsoft.com/office/powerpoint/2022/06/main/command" chg="add mod">
              <pc226:chgData name="Tania Hernández J" userId="addba336-7181-437c-9483-cb0541d012b2" providerId="ADAL" clId="{3E18673B-246C-4BD2-A8F2-AC81FA39F1C8}" dt="2023-12-10T15:16:02.750" v="477"/>
              <pc2:cmMkLst xmlns:pc2="http://schemas.microsoft.com/office/powerpoint/2019/9/main/command">
                <pc:docMk/>
                <pc:sldMk cId="2876611663" sldId="2147471254"/>
                <pc2:cmMk id="{B6D8CAD0-5B94-45B1-BCF4-F9D5F93DD69F}"/>
              </pc2:cmMkLst>
            </pc226:cmChg>
          </p:ext>
        </pc:extLst>
      </pc:sldChg>
      <pc:sldChg chg="modCm">
        <pc:chgData name="Tania Hernández J" userId="addba336-7181-437c-9483-cb0541d012b2" providerId="ADAL" clId="{3E18673B-246C-4BD2-A8F2-AC81FA39F1C8}" dt="2023-12-10T16:07:01.967" v="529"/>
        <pc:sldMkLst>
          <pc:docMk/>
          <pc:sldMk cId="2355769858" sldId="2147471255"/>
        </pc:sldMkLst>
        <pc:extLst>
          <p:ext xmlns:p="http://schemas.openxmlformats.org/presentationml/2006/main" uri="{D6D511B9-2390-475A-947B-AFAB55BFBCF1}">
            <pc226:cmChg xmlns:pc226="http://schemas.microsoft.com/office/powerpoint/2022/06/main/command" chg="">
              <pc226:chgData name="Tania Hernández J" userId="addba336-7181-437c-9483-cb0541d012b2" providerId="ADAL" clId="{3E18673B-246C-4BD2-A8F2-AC81FA39F1C8}" dt="2023-12-10T16:07:01.967" v="529"/>
              <pc2:cmMkLst xmlns:pc2="http://schemas.microsoft.com/office/powerpoint/2019/9/main/command">
                <pc:docMk/>
                <pc:sldMk cId="2355769858" sldId="2147471255"/>
                <pc2:cmMk id="{4E81DC69-B9C5-4A93-A53F-C15561DB4915}"/>
              </pc2:cmMkLst>
              <pc226:cmRplyChg chg="add mod">
                <pc226:chgData name="Tania Hernández J" userId="addba336-7181-437c-9483-cb0541d012b2" providerId="ADAL" clId="{3E18673B-246C-4BD2-A8F2-AC81FA39F1C8}" dt="2023-12-10T16:07:01.967" v="529"/>
                <pc2:cmRplyMkLst xmlns:pc2="http://schemas.microsoft.com/office/powerpoint/2019/9/main/command">
                  <pc:docMk/>
                  <pc:sldMk cId="2355769858" sldId="2147471255"/>
                  <pc2:cmMk id="{4E81DC69-B9C5-4A93-A53F-C15561DB4915}"/>
                  <pc2:cmRplyMk id="{A61EF42A-D4A7-4AAE-9B95-68B3493FCFA8}"/>
                </pc2:cmRplyMkLst>
              </pc226:cmRplyChg>
              <pc226:cmRplyChg chg="add mod">
                <pc226:chgData name="Tania Hernández J" userId="addba336-7181-437c-9483-cb0541d012b2" providerId="ADAL" clId="{3E18673B-246C-4BD2-A8F2-AC81FA39F1C8}" dt="2023-12-10T16:02:08.116" v="528"/>
                <pc2:cmRplyMkLst xmlns:pc2="http://schemas.microsoft.com/office/powerpoint/2019/9/main/command">
                  <pc:docMk/>
                  <pc:sldMk cId="2355769858" sldId="2147471255"/>
                  <pc2:cmMk id="{4E81DC69-B9C5-4A93-A53F-C15561DB4915}"/>
                  <pc2:cmRplyMk id="{AFDCECC4-E78A-4C3C-974D-B65A5D14D537}"/>
                </pc2:cmRplyMkLst>
              </pc226:cmRplyChg>
            </pc226:cmChg>
          </p:ext>
        </pc:extLst>
      </pc:sldChg>
      <pc:sldChg chg="modSp mod">
        <pc:chgData name="Tania Hernández J" userId="addba336-7181-437c-9483-cb0541d012b2" providerId="ADAL" clId="{3E18673B-246C-4BD2-A8F2-AC81FA39F1C8}" dt="2023-12-10T14:48:07.154" v="88" actId="313"/>
        <pc:sldMkLst>
          <pc:docMk/>
          <pc:sldMk cId="1800313876" sldId="2147471256"/>
        </pc:sldMkLst>
        <pc:spChg chg="mod">
          <ac:chgData name="Tania Hernández J" userId="addba336-7181-437c-9483-cb0541d012b2" providerId="ADAL" clId="{3E18673B-246C-4BD2-A8F2-AC81FA39F1C8}" dt="2023-12-10T14:48:07.154" v="88" actId="313"/>
          <ac:spMkLst>
            <pc:docMk/>
            <pc:sldMk cId="1800313876" sldId="2147471256"/>
            <ac:spMk id="3" creationId="{00000000-0000-0000-0000-000000000000}"/>
          </ac:spMkLst>
        </pc:spChg>
      </pc:sldChg>
      <pc:sldChg chg="modSp mod ord modCm">
        <pc:chgData name="Tania Hernández J" userId="addba336-7181-437c-9483-cb0541d012b2" providerId="ADAL" clId="{3E18673B-246C-4BD2-A8F2-AC81FA39F1C8}" dt="2023-12-10T19:52:47.309" v="617" actId="20577"/>
        <pc:sldMkLst>
          <pc:docMk/>
          <pc:sldMk cId="905669304" sldId="2147471257"/>
        </pc:sldMkLst>
        <pc:spChg chg="mod">
          <ac:chgData name="Tania Hernández J" userId="addba336-7181-437c-9483-cb0541d012b2" providerId="ADAL" clId="{3E18673B-246C-4BD2-A8F2-AC81FA39F1C8}" dt="2023-12-10T15:00:16.237" v="121" actId="6549"/>
          <ac:spMkLst>
            <pc:docMk/>
            <pc:sldMk cId="905669304" sldId="2147471257"/>
            <ac:spMk id="3" creationId="{00000000-0000-0000-0000-000000000000}"/>
          </ac:spMkLst>
        </pc:spChg>
        <pc:graphicFrameChg chg="mod modGraphic">
          <ac:chgData name="Tania Hernández J" userId="addba336-7181-437c-9483-cb0541d012b2" providerId="ADAL" clId="{3E18673B-246C-4BD2-A8F2-AC81FA39F1C8}" dt="2023-12-10T19:52:47.309" v="617" actId="20577"/>
          <ac:graphicFrameMkLst>
            <pc:docMk/>
            <pc:sldMk cId="905669304" sldId="2147471257"/>
            <ac:graphicFrameMk id="9" creationId="{6049B724-A37F-D3C2-3B53-1E260A1416DA}"/>
          </ac:graphicFrameMkLst>
        </pc:graphicFrameChg>
        <pc:extLst>
          <p:ext xmlns:p="http://schemas.openxmlformats.org/presentationml/2006/main" uri="{D6D511B9-2390-475A-947B-AFAB55BFBCF1}">
            <pc226:cmChg xmlns:pc226="http://schemas.microsoft.com/office/powerpoint/2022/06/main/command" chg="mod">
              <pc226:chgData name="Tania Hernández J" userId="addba336-7181-437c-9483-cb0541d012b2" providerId="ADAL" clId="{3E18673B-246C-4BD2-A8F2-AC81FA39F1C8}" dt="2023-12-10T15:00:16.237" v="121" actId="6549"/>
              <pc2:cmMkLst xmlns:pc2="http://schemas.microsoft.com/office/powerpoint/2019/9/main/command">
                <pc:docMk/>
                <pc:sldMk cId="905669304" sldId="2147471257"/>
                <pc2:cmMk id="{A47D6C62-7264-4830-8EC4-2CA07562AFDD}"/>
              </pc2:cmMkLst>
              <pc226:cmRplyChg chg="add">
                <pc226:chgData name="Tania Hernández J" userId="addba336-7181-437c-9483-cb0541d012b2" providerId="ADAL" clId="{3E18673B-246C-4BD2-A8F2-AC81FA39F1C8}" dt="2023-12-10T14:58:50.464" v="93"/>
                <pc2:cmRplyMkLst xmlns:pc2="http://schemas.microsoft.com/office/powerpoint/2019/9/main/command">
                  <pc:docMk/>
                  <pc:sldMk cId="905669304" sldId="2147471257"/>
                  <pc2:cmMk id="{A47D6C62-7264-4830-8EC4-2CA07562AFDD}"/>
                  <pc2:cmRplyMk id="{4CC6FDE6-9618-4EB8-AA95-4BD729A7EBBC}"/>
                </pc2:cmRplyMkLst>
              </pc226:cmRplyChg>
            </pc226:cmChg>
            <pc226:cmChg xmlns:pc226="http://schemas.microsoft.com/office/powerpoint/2022/06/main/command" chg="mod">
              <pc226:chgData name="Tania Hernández J" userId="addba336-7181-437c-9483-cb0541d012b2" providerId="ADAL" clId="{3E18673B-246C-4BD2-A8F2-AC81FA39F1C8}" dt="2023-12-10T15:02:37.692" v="130"/>
              <pc2:cmMkLst xmlns:pc2="http://schemas.microsoft.com/office/powerpoint/2019/9/main/command">
                <pc:docMk/>
                <pc:sldMk cId="905669304" sldId="2147471257"/>
                <pc2:cmMk id="{BB051470-6B4C-4E92-BF0E-93C19957AC30}"/>
              </pc2:cmMkLst>
              <pc226:cmRplyChg chg="add">
                <pc226:chgData name="Tania Hernández J" userId="addba336-7181-437c-9483-cb0541d012b2" providerId="ADAL" clId="{3E18673B-246C-4BD2-A8F2-AC81FA39F1C8}" dt="2023-12-10T15:02:37.692" v="130"/>
                <pc2:cmRplyMkLst xmlns:pc2="http://schemas.microsoft.com/office/powerpoint/2019/9/main/command">
                  <pc:docMk/>
                  <pc:sldMk cId="905669304" sldId="2147471257"/>
                  <pc2:cmMk id="{BB051470-6B4C-4E92-BF0E-93C19957AC30}"/>
                  <pc2:cmRplyMk id="{15C4AFB5-F471-4648-8538-9588406F0EB1}"/>
                </pc2:cmRplyMkLst>
              </pc226:cmRplyChg>
            </pc226:cmChg>
          </p:ext>
        </pc:extLst>
      </pc:sldChg>
      <pc:sldChg chg="add del">
        <pc:chgData name="Tania Hernández J" userId="addba336-7181-437c-9483-cb0541d012b2" providerId="ADAL" clId="{3E18673B-246C-4BD2-A8F2-AC81FA39F1C8}" dt="2023-12-10T15:01:59.243" v="129" actId="47"/>
        <pc:sldMkLst>
          <pc:docMk/>
          <pc:sldMk cId="1588262957" sldId="2147471258"/>
        </pc:sldMkLst>
      </pc:sldChg>
      <pc:sldChg chg="modSp add mod modAnim addCm delCm">
        <pc:chgData name="Tania Hernández J" userId="addba336-7181-437c-9483-cb0541d012b2" providerId="ADAL" clId="{3E18673B-246C-4BD2-A8F2-AC81FA39F1C8}" dt="2023-12-10T20:09:35.743" v="631"/>
        <pc:sldMkLst>
          <pc:docMk/>
          <pc:sldMk cId="2951709829" sldId="2147471258"/>
        </pc:sldMkLst>
        <pc:spChg chg="mod">
          <ac:chgData name="Tania Hernández J" userId="addba336-7181-437c-9483-cb0541d012b2" providerId="ADAL" clId="{3E18673B-246C-4BD2-A8F2-AC81FA39F1C8}" dt="2023-12-10T19:51:24.360" v="608" actId="20577"/>
          <ac:spMkLst>
            <pc:docMk/>
            <pc:sldMk cId="2951709829" sldId="2147471258"/>
            <ac:spMk id="4" creationId="{00000000-0000-0000-0000-000000000000}"/>
          </ac:spMkLst>
        </pc:spChg>
        <pc:extLst>
          <p:ext xmlns:p="http://schemas.openxmlformats.org/presentationml/2006/main" uri="{D6D511B9-2390-475A-947B-AFAB55BFBCF1}">
            <pc226:cmChg xmlns:pc226="http://schemas.microsoft.com/office/powerpoint/2022/06/main/command" chg="add del">
              <pc226:chgData name="Tania Hernández J" userId="addba336-7181-437c-9483-cb0541d012b2" providerId="ADAL" clId="{3E18673B-246C-4BD2-A8F2-AC81FA39F1C8}" dt="2023-12-10T20:09:35.743" v="631"/>
              <pc2:cmMkLst xmlns:pc2="http://schemas.microsoft.com/office/powerpoint/2019/9/main/command">
                <pc:docMk/>
                <pc:sldMk cId="2951709829" sldId="2147471258"/>
                <pc2:cmMk id="{FE0ECC64-C15C-4B4A-B6C0-4E65C73B1C90}"/>
              </pc2:cmMkLst>
            </pc226:cmChg>
            <pc226:cmChg xmlns:pc226="http://schemas.microsoft.com/office/powerpoint/2022/06/main/command" chg="add">
              <pc226:chgData name="Tania Hernández J" userId="addba336-7181-437c-9483-cb0541d012b2" providerId="ADAL" clId="{3E18673B-246C-4BD2-A8F2-AC81FA39F1C8}" dt="2023-12-10T19:40:17.348" v="530"/>
              <pc2:cmMkLst xmlns:pc2="http://schemas.microsoft.com/office/powerpoint/2019/9/main/command">
                <pc:docMk/>
                <pc:sldMk cId="2951709829" sldId="2147471258"/>
                <pc2:cmMk id="{75280FE2-0AA4-4B5B-90B7-00187AB86C5C}"/>
              </pc2:cmMkLst>
            </pc226:cmChg>
          </p:ext>
        </pc:extLst>
      </pc:sldChg>
      <pc:sldChg chg="new del">
        <pc:chgData name="Tania Hernández J" userId="addba336-7181-437c-9483-cb0541d012b2" providerId="ADAL" clId="{3E18673B-246C-4BD2-A8F2-AC81FA39F1C8}" dt="2023-12-10T14:59:35.288" v="97" actId="680"/>
        <pc:sldMkLst>
          <pc:docMk/>
          <pc:sldMk cId="1021890899" sldId="2147471259"/>
        </pc:sldMkLst>
      </pc:sldChg>
    </pc:docChg>
  </pc:docChgLst>
  <pc:docChgLst>
    <pc:chgData name="Matías Contreras Figueroa" userId="S::mcontreras@dipres.gob.cl::c7e19c49-a152-4351-94ae-4d6302d713f0" providerId="AD" clId="Web-{C085540C-CA21-48BB-BC35-6B5F555BA65E}"/>
    <pc:docChg chg="modSld">
      <pc:chgData name="Matías Contreras Figueroa" userId="S::mcontreras@dipres.gob.cl::c7e19c49-a152-4351-94ae-4d6302d713f0" providerId="AD" clId="Web-{C085540C-CA21-48BB-BC35-6B5F555BA65E}" dt="2023-12-10T17:36:27.514" v="51"/>
      <pc:docMkLst>
        <pc:docMk/>
      </pc:docMkLst>
      <pc:sldChg chg="modSp modCm">
        <pc:chgData name="Matías Contreras Figueroa" userId="S::mcontreras@dipres.gob.cl::c7e19c49-a152-4351-94ae-4d6302d713f0" providerId="AD" clId="Web-{C085540C-CA21-48BB-BC35-6B5F555BA65E}" dt="2023-12-10T17:36:27.514" v="51"/>
        <pc:sldMkLst>
          <pc:docMk/>
          <pc:sldMk cId="2684714154" sldId="279"/>
        </pc:sldMkLst>
        <pc:spChg chg="mod">
          <ac:chgData name="Matías Contreras Figueroa" userId="S::mcontreras@dipres.gob.cl::c7e19c49-a152-4351-94ae-4d6302d713f0" providerId="AD" clId="Web-{C085540C-CA21-48BB-BC35-6B5F555BA65E}" dt="2023-12-10T17:34:39.418" v="50" actId="20577"/>
          <ac:spMkLst>
            <pc:docMk/>
            <pc:sldMk cId="2684714154" sldId="279"/>
            <ac:spMk id="10" creationId="{D4F7E8F5-E4BD-4C84-9193-C9A4821F1140}"/>
          </ac:spMkLst>
        </pc:spChg>
        <pc:extLst>
          <p:ext xmlns:p="http://schemas.openxmlformats.org/presentationml/2006/main" uri="{D6D511B9-2390-475A-947B-AFAB55BFBCF1}">
            <pc226:cmChg xmlns:pc226="http://schemas.microsoft.com/office/powerpoint/2022/06/main/command" chg="mod">
              <pc226:chgData name="Matías Contreras Figueroa" userId="S::mcontreras@dipres.gob.cl::c7e19c49-a152-4351-94ae-4d6302d713f0" providerId="AD" clId="Web-{C085540C-CA21-48BB-BC35-6B5F555BA65E}" dt="2023-12-10T17:36:27.514" v="51"/>
              <pc2:cmMkLst xmlns:pc2="http://schemas.microsoft.com/office/powerpoint/2019/9/main/command">
                <pc:docMk/>
                <pc:sldMk cId="2684714154" sldId="279"/>
                <pc2:cmMk id="{3E7484C8-E0C9-4883-B1B4-71082673AE2E}"/>
              </pc2:cmMkLst>
              <pc226:cmRplyChg chg="add">
                <pc226:chgData name="Matías Contreras Figueroa" userId="S::mcontreras@dipres.gob.cl::c7e19c49-a152-4351-94ae-4d6302d713f0" providerId="AD" clId="Web-{C085540C-CA21-48BB-BC35-6B5F555BA65E}" dt="2023-12-10T17:36:27.514" v="51"/>
                <pc2:cmRplyMkLst xmlns:pc2="http://schemas.microsoft.com/office/powerpoint/2019/9/main/command">
                  <pc:docMk/>
                  <pc:sldMk cId="2684714154" sldId="279"/>
                  <pc2:cmMk id="{3E7484C8-E0C9-4883-B1B4-71082673AE2E}"/>
                  <pc2:cmRplyMk id="{A49C532A-BD3F-4A9B-92A9-0264CB8FCF3D}"/>
                </pc2:cmRplyMkLst>
              </pc226:cmRplyChg>
            </pc226:cmChg>
          </p:ext>
        </pc:extLst>
      </pc:sldChg>
      <pc:sldChg chg="addSp delSp modSp">
        <pc:chgData name="Matías Contreras Figueroa" userId="S::mcontreras@dipres.gob.cl::c7e19c49-a152-4351-94ae-4d6302d713f0" providerId="AD" clId="Web-{C085540C-CA21-48BB-BC35-6B5F555BA65E}" dt="2023-12-10T17:33:38.463" v="33"/>
        <pc:sldMkLst>
          <pc:docMk/>
          <pc:sldMk cId="3271780845" sldId="10403"/>
        </pc:sldMkLst>
        <pc:graphicFrameChg chg="add del">
          <ac:chgData name="Matías Contreras Figueroa" userId="S::mcontreras@dipres.gob.cl::c7e19c49-a152-4351-94ae-4d6302d713f0" providerId="AD" clId="Web-{C085540C-CA21-48BB-BC35-6B5F555BA65E}" dt="2023-12-10T17:33:38.463" v="33"/>
          <ac:graphicFrameMkLst>
            <pc:docMk/>
            <pc:sldMk cId="3271780845" sldId="10403"/>
            <ac:graphicFrameMk id="2" creationId="{92362829-9C77-D772-26C6-5D3D9C236A5C}"/>
          </ac:graphicFrameMkLst>
        </pc:graphicFrameChg>
        <pc:picChg chg="add del mod">
          <ac:chgData name="Matías Contreras Figueroa" userId="S::mcontreras@dipres.gob.cl::c7e19c49-a152-4351-94ae-4d6302d713f0" providerId="AD" clId="Web-{C085540C-CA21-48BB-BC35-6B5F555BA65E}" dt="2023-12-10T17:31:35.272" v="2"/>
          <ac:picMkLst>
            <pc:docMk/>
            <pc:sldMk cId="3271780845" sldId="10403"/>
            <ac:picMk id="4" creationId="{29128219-2CC5-5526-0651-6941E4DEAE9B}"/>
          </ac:picMkLst>
        </pc:picChg>
        <pc:picChg chg="add del mod">
          <ac:chgData name="Matías Contreras Figueroa" userId="S::mcontreras@dipres.gob.cl::c7e19c49-a152-4351-94ae-4d6302d713f0" providerId="AD" clId="Web-{C085540C-CA21-48BB-BC35-6B5F555BA65E}" dt="2023-12-10T17:33:37.463" v="32"/>
          <ac:picMkLst>
            <pc:docMk/>
            <pc:sldMk cId="3271780845" sldId="10403"/>
            <ac:picMk id="6" creationId="{92312D35-7313-C5BB-4BB8-0F9EC34BF86A}"/>
          </ac:picMkLst>
        </pc:picChg>
        <pc:picChg chg="add del mod">
          <ac:chgData name="Matías Contreras Figueroa" userId="S::mcontreras@dipres.gob.cl::c7e19c49-a152-4351-94ae-4d6302d713f0" providerId="AD" clId="Web-{C085540C-CA21-48BB-BC35-6B5F555BA65E}" dt="2023-12-10T17:32:03.695" v="10"/>
          <ac:picMkLst>
            <pc:docMk/>
            <pc:sldMk cId="3271780845" sldId="10403"/>
            <ac:picMk id="7" creationId="{0D925A0B-0353-F9DA-C0F4-5325FE214D50}"/>
          </ac:picMkLst>
        </pc:picChg>
        <pc:picChg chg="add del mod">
          <ac:chgData name="Matías Contreras Figueroa" userId="S::mcontreras@dipres.gob.cl::c7e19c49-a152-4351-94ae-4d6302d713f0" providerId="AD" clId="Web-{C085540C-CA21-48BB-BC35-6B5F555BA65E}" dt="2023-12-10T17:33:20.103" v="26"/>
          <ac:picMkLst>
            <pc:docMk/>
            <pc:sldMk cId="3271780845" sldId="10403"/>
            <ac:picMk id="9" creationId="{18868B3A-C8A6-2429-D71F-FEB06952154F}"/>
          </ac:picMkLst>
        </pc:picChg>
        <pc:picChg chg="add del mod">
          <ac:chgData name="Matías Contreras Figueroa" userId="S::mcontreras@dipres.gob.cl::c7e19c49-a152-4351-94ae-4d6302d713f0" providerId="AD" clId="Web-{C085540C-CA21-48BB-BC35-6B5F555BA65E}" dt="2023-12-10T17:33:14.197" v="24"/>
          <ac:picMkLst>
            <pc:docMk/>
            <pc:sldMk cId="3271780845" sldId="10403"/>
            <ac:picMk id="10" creationId="{1B673393-7DC0-051A-F1DC-046B3B5EA9B3}"/>
          </ac:picMkLst>
        </pc:picChg>
      </pc:sldChg>
    </pc:docChg>
  </pc:docChgLst>
  <pc:docChgLst>
    <pc:chgData name="Milena Martinez Valenzuela" userId="be3f4e8d-1043-46cf-ba05-86ea3ca9d6fe" providerId="ADAL" clId="{99D9136B-12E8-468A-9712-3FDC53018C91}"/>
    <pc:docChg chg="undo custSel modSld modMainMaster">
      <pc:chgData name="Milena Martinez Valenzuela" userId="be3f4e8d-1043-46cf-ba05-86ea3ca9d6fe" providerId="ADAL" clId="{99D9136B-12E8-468A-9712-3FDC53018C91}" dt="2023-12-11T15:48:35.660" v="1977" actId="478"/>
      <pc:docMkLst>
        <pc:docMk/>
      </pc:docMkLst>
      <pc:sldChg chg="delSp mod setBg">
        <pc:chgData name="Milena Martinez Valenzuela" userId="be3f4e8d-1043-46cf-ba05-86ea3ca9d6fe" providerId="ADAL" clId="{99D9136B-12E8-468A-9712-3FDC53018C91}" dt="2023-12-11T15:48:15.732" v="1972" actId="478"/>
        <pc:sldMkLst>
          <pc:docMk/>
          <pc:sldMk cId="3868216601" sldId="258"/>
        </pc:sldMkLst>
        <pc:picChg chg="del">
          <ac:chgData name="Milena Martinez Valenzuela" userId="be3f4e8d-1043-46cf-ba05-86ea3ca9d6fe" providerId="ADAL" clId="{99D9136B-12E8-468A-9712-3FDC53018C91}" dt="2023-12-11T15:48:15.732" v="1972" actId="478"/>
          <ac:picMkLst>
            <pc:docMk/>
            <pc:sldMk cId="3868216601" sldId="258"/>
            <ac:picMk id="6" creationId="{F6CC21E3-8980-4858-2407-8C9AAABD5765}"/>
          </ac:picMkLst>
        </pc:picChg>
        <pc:picChg chg="del">
          <ac:chgData name="Milena Martinez Valenzuela" userId="be3f4e8d-1043-46cf-ba05-86ea3ca9d6fe" providerId="ADAL" clId="{99D9136B-12E8-468A-9712-3FDC53018C91}" dt="2023-12-11T15:48:15.732" v="1972" actId="478"/>
          <ac:picMkLst>
            <pc:docMk/>
            <pc:sldMk cId="3868216601" sldId="258"/>
            <ac:picMk id="8" creationId="{BEA90102-FB99-6736-09B7-28D740340858}"/>
          </ac:picMkLst>
        </pc:picChg>
        <pc:picChg chg="del">
          <ac:chgData name="Milena Martinez Valenzuela" userId="be3f4e8d-1043-46cf-ba05-86ea3ca9d6fe" providerId="ADAL" clId="{99D9136B-12E8-468A-9712-3FDC53018C91}" dt="2023-12-11T15:48:15.732" v="1972" actId="478"/>
          <ac:picMkLst>
            <pc:docMk/>
            <pc:sldMk cId="3868216601" sldId="258"/>
            <ac:picMk id="10" creationId="{A098BA05-E089-62D2-CDB0-8D5A3A3199C2}"/>
          </ac:picMkLst>
        </pc:picChg>
      </pc:sldChg>
      <pc:sldChg chg="delSp modSp mod setBg">
        <pc:chgData name="Milena Martinez Valenzuela" userId="be3f4e8d-1043-46cf-ba05-86ea3ca9d6fe" providerId="ADAL" clId="{99D9136B-12E8-468A-9712-3FDC53018C91}" dt="2023-12-11T15:48:35.660" v="1977" actId="478"/>
        <pc:sldMkLst>
          <pc:docMk/>
          <pc:sldMk cId="3836789641" sldId="262"/>
        </pc:sldMkLst>
        <pc:spChg chg="mod">
          <ac:chgData name="Milena Martinez Valenzuela" userId="be3f4e8d-1043-46cf-ba05-86ea3ca9d6fe" providerId="ADAL" clId="{99D9136B-12E8-468A-9712-3FDC53018C91}" dt="2023-12-11T14:07:38.436" v="15" actId="207"/>
          <ac:spMkLst>
            <pc:docMk/>
            <pc:sldMk cId="3836789641" sldId="262"/>
            <ac:spMk id="2" creationId="{EC224294-9D2F-9B4C-ABA0-06869EDAB428}"/>
          </ac:spMkLst>
        </pc:spChg>
        <pc:spChg chg="mod">
          <ac:chgData name="Milena Martinez Valenzuela" userId="be3f4e8d-1043-46cf-ba05-86ea3ca9d6fe" providerId="ADAL" clId="{99D9136B-12E8-468A-9712-3FDC53018C91}" dt="2023-12-11T14:07:47.036" v="19" actId="121"/>
          <ac:spMkLst>
            <pc:docMk/>
            <pc:sldMk cId="3836789641" sldId="262"/>
            <ac:spMk id="8" creationId="{A8D67202-1888-4DCF-8E69-1CAD61C6FA27}"/>
          </ac:spMkLst>
        </pc:spChg>
        <pc:picChg chg="del">
          <ac:chgData name="Milena Martinez Valenzuela" userId="be3f4e8d-1043-46cf-ba05-86ea3ca9d6fe" providerId="ADAL" clId="{99D9136B-12E8-468A-9712-3FDC53018C91}" dt="2023-12-11T15:48:35.332" v="1976" actId="478"/>
          <ac:picMkLst>
            <pc:docMk/>
            <pc:sldMk cId="3836789641" sldId="262"/>
            <ac:picMk id="3" creationId="{EC823EA5-F5D5-E1E5-C946-5E7FEC87A07C}"/>
          </ac:picMkLst>
        </pc:picChg>
        <pc:picChg chg="del">
          <ac:chgData name="Milena Martinez Valenzuela" userId="be3f4e8d-1043-46cf-ba05-86ea3ca9d6fe" providerId="ADAL" clId="{99D9136B-12E8-468A-9712-3FDC53018C91}" dt="2023-12-11T15:48:35.660" v="1977" actId="478"/>
          <ac:picMkLst>
            <pc:docMk/>
            <pc:sldMk cId="3836789641" sldId="262"/>
            <ac:picMk id="5" creationId="{588A5C78-CD78-A508-0BF4-CEB58743DC1A}"/>
          </ac:picMkLst>
        </pc:picChg>
        <pc:picChg chg="del">
          <ac:chgData name="Milena Martinez Valenzuela" userId="be3f4e8d-1043-46cf-ba05-86ea3ca9d6fe" providerId="ADAL" clId="{99D9136B-12E8-468A-9712-3FDC53018C91}" dt="2023-12-11T15:48:34.997" v="1975" actId="478"/>
          <ac:picMkLst>
            <pc:docMk/>
            <pc:sldMk cId="3836789641" sldId="262"/>
            <ac:picMk id="9" creationId="{FCB5566C-C804-3D8C-295B-ED20BFA722D9}"/>
          </ac:picMkLst>
        </pc:picChg>
        <pc:cxnChg chg="mod">
          <ac:chgData name="Milena Martinez Valenzuela" userId="be3f4e8d-1043-46cf-ba05-86ea3ca9d6fe" providerId="ADAL" clId="{99D9136B-12E8-468A-9712-3FDC53018C91}" dt="2023-12-11T14:07:29.612" v="14" actId="208"/>
          <ac:cxnSpMkLst>
            <pc:docMk/>
            <pc:sldMk cId="3836789641" sldId="262"/>
            <ac:cxnSpMk id="7" creationId="{90B7E8E4-4862-46B3-A20B-DEE02261D4C8}"/>
          </ac:cxnSpMkLst>
        </pc:cxnChg>
      </pc:sldChg>
      <pc:sldChg chg="addSp delSp modSp mod setBg">
        <pc:chgData name="Milena Martinez Valenzuela" userId="be3f4e8d-1043-46cf-ba05-86ea3ca9d6fe" providerId="ADAL" clId="{99D9136B-12E8-468A-9712-3FDC53018C91}" dt="2023-12-11T15:47:40.766" v="1969"/>
        <pc:sldMkLst>
          <pc:docMk/>
          <pc:sldMk cId="1407915271" sldId="272"/>
        </pc:sldMkLst>
        <pc:spChg chg="mod">
          <ac:chgData name="Milena Martinez Valenzuela" userId="be3f4e8d-1043-46cf-ba05-86ea3ca9d6fe" providerId="ADAL" clId="{99D9136B-12E8-468A-9712-3FDC53018C91}" dt="2023-12-11T14:08:12.721" v="25" actId="1076"/>
          <ac:spMkLst>
            <pc:docMk/>
            <pc:sldMk cId="1407915271" sldId="272"/>
            <ac:spMk id="3" creationId="{00000000-0000-0000-0000-000000000000}"/>
          </ac:spMkLst>
        </pc:spChg>
        <pc:spChg chg="mod">
          <ac:chgData name="Milena Martinez Valenzuela" userId="be3f4e8d-1043-46cf-ba05-86ea3ca9d6fe" providerId="ADAL" clId="{99D9136B-12E8-468A-9712-3FDC53018C91}" dt="2023-12-11T14:23:53.985" v="369" actId="14100"/>
          <ac:spMkLst>
            <pc:docMk/>
            <pc:sldMk cId="1407915271" sldId="272"/>
            <ac:spMk id="11" creationId="{D8D8B5A9-0857-7A27-842A-7863F96B970B}"/>
          </ac:spMkLst>
        </pc:spChg>
        <pc:spChg chg="mod">
          <ac:chgData name="Milena Martinez Valenzuela" userId="be3f4e8d-1043-46cf-ba05-86ea3ca9d6fe" providerId="ADAL" clId="{99D9136B-12E8-468A-9712-3FDC53018C91}" dt="2023-12-11T14:24:00.180" v="370" actId="14100"/>
          <ac:spMkLst>
            <pc:docMk/>
            <pc:sldMk cId="1407915271" sldId="272"/>
            <ac:spMk id="13" creationId="{80B1E790-6901-F3C5-5564-43EB16559871}"/>
          </ac:spMkLst>
        </pc:spChg>
        <pc:picChg chg="add del mod">
          <ac:chgData name="Milena Martinez Valenzuela" userId="be3f4e8d-1043-46cf-ba05-86ea3ca9d6fe" providerId="ADAL" clId="{99D9136B-12E8-468A-9712-3FDC53018C91}" dt="2023-12-11T15:47:11.508" v="1966" actId="478"/>
          <ac:picMkLst>
            <pc:docMk/>
            <pc:sldMk cId="1407915271" sldId="272"/>
            <ac:picMk id="4" creationId="{0C55B8B2-AB8D-2192-6C5A-B0E3E8D097F1}"/>
          </ac:picMkLst>
        </pc:picChg>
      </pc:sldChg>
      <pc:sldChg chg="modSp mod">
        <pc:chgData name="Milena Martinez Valenzuela" userId="be3f4e8d-1043-46cf-ba05-86ea3ca9d6fe" providerId="ADAL" clId="{99D9136B-12E8-468A-9712-3FDC53018C91}" dt="2023-12-11T14:23:14.129" v="307" actId="14100"/>
        <pc:sldMkLst>
          <pc:docMk/>
          <pc:sldMk cId="2482596611" sldId="274"/>
        </pc:sldMkLst>
        <pc:spChg chg="mod">
          <ac:chgData name="Milena Martinez Valenzuela" userId="be3f4e8d-1043-46cf-ba05-86ea3ca9d6fe" providerId="ADAL" clId="{99D9136B-12E8-468A-9712-3FDC53018C91}" dt="2023-12-11T14:23:04.089" v="304" actId="1037"/>
          <ac:spMkLst>
            <pc:docMk/>
            <pc:sldMk cId="2482596611" sldId="274"/>
            <ac:spMk id="2" creationId="{00000000-0000-0000-0000-000000000000}"/>
          </ac:spMkLst>
        </pc:spChg>
        <pc:spChg chg="mod">
          <ac:chgData name="Milena Martinez Valenzuela" userId="be3f4e8d-1043-46cf-ba05-86ea3ca9d6fe" providerId="ADAL" clId="{99D9136B-12E8-468A-9712-3FDC53018C91}" dt="2023-12-11T14:23:14.129" v="307" actId="14100"/>
          <ac:spMkLst>
            <pc:docMk/>
            <pc:sldMk cId="2482596611" sldId="274"/>
            <ac:spMk id="4" creationId="{00000000-0000-0000-0000-000000000000}"/>
          </ac:spMkLst>
        </pc:spChg>
        <pc:spChg chg="mod">
          <ac:chgData name="Milena Martinez Valenzuela" userId="be3f4e8d-1043-46cf-ba05-86ea3ca9d6fe" providerId="ADAL" clId="{99D9136B-12E8-468A-9712-3FDC53018C91}" dt="2023-12-11T14:22:16.281" v="243" actId="1076"/>
          <ac:spMkLst>
            <pc:docMk/>
            <pc:sldMk cId="2482596611" sldId="274"/>
            <ac:spMk id="7" creationId="{6EE7DFCE-CB2A-DB2C-2DF8-30BC9FEB4CF8}"/>
          </ac:spMkLst>
        </pc:spChg>
      </pc:sldChg>
      <pc:sldChg chg="addSp delSp modSp mod modAnim">
        <pc:chgData name="Milena Martinez Valenzuela" userId="be3f4e8d-1043-46cf-ba05-86ea3ca9d6fe" providerId="ADAL" clId="{99D9136B-12E8-468A-9712-3FDC53018C91}" dt="2023-12-11T15:33:51.343" v="1920"/>
        <pc:sldMkLst>
          <pc:docMk/>
          <pc:sldMk cId="877613551" sldId="276"/>
        </pc:sldMkLst>
        <pc:spChg chg="del">
          <ac:chgData name="Milena Martinez Valenzuela" userId="be3f4e8d-1043-46cf-ba05-86ea3ca9d6fe" providerId="ADAL" clId="{99D9136B-12E8-468A-9712-3FDC53018C91}" dt="2023-12-11T15:33:50.300" v="1919" actId="478"/>
          <ac:spMkLst>
            <pc:docMk/>
            <pc:sldMk cId="877613551" sldId="276"/>
            <ac:spMk id="3" creationId="{7B2667B1-D601-C87C-AFAC-1ECADC650058}"/>
          </ac:spMkLst>
        </pc:spChg>
        <pc:spChg chg="mod">
          <ac:chgData name="Milena Martinez Valenzuela" userId="be3f4e8d-1043-46cf-ba05-86ea3ca9d6fe" providerId="ADAL" clId="{99D9136B-12E8-468A-9712-3FDC53018C91}" dt="2023-12-11T14:30:24.315" v="508" actId="14100"/>
          <ac:spMkLst>
            <pc:docMk/>
            <pc:sldMk cId="877613551" sldId="276"/>
            <ac:spMk id="4" creationId="{00000000-0000-0000-0000-000000000000}"/>
          </ac:spMkLst>
        </pc:spChg>
        <pc:spChg chg="del">
          <ac:chgData name="Milena Martinez Valenzuela" userId="be3f4e8d-1043-46cf-ba05-86ea3ca9d6fe" providerId="ADAL" clId="{99D9136B-12E8-468A-9712-3FDC53018C91}" dt="2023-12-11T15:33:50.300" v="1919" actId="478"/>
          <ac:spMkLst>
            <pc:docMk/>
            <pc:sldMk cId="877613551" sldId="276"/>
            <ac:spMk id="5" creationId="{427BF765-D4CE-3A5C-F151-D0B68D09C63D}"/>
          </ac:spMkLst>
        </pc:spChg>
        <pc:spChg chg="add mod">
          <ac:chgData name="Milena Martinez Valenzuela" userId="be3f4e8d-1043-46cf-ba05-86ea3ca9d6fe" providerId="ADAL" clId="{99D9136B-12E8-468A-9712-3FDC53018C91}" dt="2023-12-11T15:33:51.343" v="1920"/>
          <ac:spMkLst>
            <pc:docMk/>
            <pc:sldMk cId="877613551" sldId="276"/>
            <ac:spMk id="6" creationId="{967EC1FC-F85A-ACB0-FD19-46BF4ECDD6EA}"/>
          </ac:spMkLst>
        </pc:spChg>
        <pc:spChg chg="add mod">
          <ac:chgData name="Milena Martinez Valenzuela" userId="be3f4e8d-1043-46cf-ba05-86ea3ca9d6fe" providerId="ADAL" clId="{99D9136B-12E8-468A-9712-3FDC53018C91}" dt="2023-12-11T15:33:51.343" v="1920"/>
          <ac:spMkLst>
            <pc:docMk/>
            <pc:sldMk cId="877613551" sldId="276"/>
            <ac:spMk id="7" creationId="{830016B7-BF7E-5C85-057C-0EEC8BAD7790}"/>
          </ac:spMkLst>
        </pc:spChg>
        <pc:spChg chg="mod">
          <ac:chgData name="Milena Martinez Valenzuela" userId="be3f4e8d-1043-46cf-ba05-86ea3ca9d6fe" providerId="ADAL" clId="{99D9136B-12E8-468A-9712-3FDC53018C91}" dt="2023-12-11T14:29:42.033" v="487" actId="1036"/>
          <ac:spMkLst>
            <pc:docMk/>
            <pc:sldMk cId="877613551" sldId="276"/>
            <ac:spMk id="8" creationId="{475EA3C9-3F03-3CA4-FC58-5E2F3FA20896}"/>
          </ac:spMkLst>
        </pc:spChg>
      </pc:sldChg>
      <pc:sldChg chg="addSp delSp modSp mod">
        <pc:chgData name="Milena Martinez Valenzuela" userId="be3f4e8d-1043-46cf-ba05-86ea3ca9d6fe" providerId="ADAL" clId="{99D9136B-12E8-468A-9712-3FDC53018C91}" dt="2023-12-11T15:34:05.339" v="1926"/>
        <pc:sldMkLst>
          <pc:docMk/>
          <pc:sldMk cId="2003756454" sldId="278"/>
        </pc:sldMkLst>
        <pc:spChg chg="add mod">
          <ac:chgData name="Milena Martinez Valenzuela" userId="be3f4e8d-1043-46cf-ba05-86ea3ca9d6fe" providerId="ADAL" clId="{99D9136B-12E8-468A-9712-3FDC53018C91}" dt="2023-12-11T15:34:05.339" v="1926"/>
          <ac:spMkLst>
            <pc:docMk/>
            <pc:sldMk cId="2003756454" sldId="278"/>
            <ac:spMk id="2" creationId="{E225D03B-E8FC-E41A-2C9C-0201138B05C7}"/>
          </ac:spMkLst>
        </pc:spChg>
        <pc:spChg chg="add mod">
          <ac:chgData name="Milena Martinez Valenzuela" userId="be3f4e8d-1043-46cf-ba05-86ea3ca9d6fe" providerId="ADAL" clId="{99D9136B-12E8-468A-9712-3FDC53018C91}" dt="2023-12-11T15:34:05.339" v="1926"/>
          <ac:spMkLst>
            <pc:docMk/>
            <pc:sldMk cId="2003756454" sldId="278"/>
            <ac:spMk id="3" creationId="{C1A5FD4D-55E9-2579-6DAC-7CFE1FE05784}"/>
          </ac:spMkLst>
        </pc:spChg>
        <pc:spChg chg="mod">
          <ac:chgData name="Milena Martinez Valenzuela" userId="be3f4e8d-1043-46cf-ba05-86ea3ca9d6fe" providerId="ADAL" clId="{99D9136B-12E8-468A-9712-3FDC53018C91}" dt="2023-12-11T14:33:32.865" v="578" actId="14100"/>
          <ac:spMkLst>
            <pc:docMk/>
            <pc:sldMk cId="2003756454" sldId="278"/>
            <ac:spMk id="6" creationId="{907F8ED7-FA4E-1FDC-AA99-848241B6CD29}"/>
          </ac:spMkLst>
        </pc:spChg>
        <pc:spChg chg="del">
          <ac:chgData name="Milena Martinez Valenzuela" userId="be3f4e8d-1043-46cf-ba05-86ea3ca9d6fe" providerId="ADAL" clId="{99D9136B-12E8-468A-9712-3FDC53018C91}" dt="2023-12-11T15:34:04.436" v="1925" actId="478"/>
          <ac:spMkLst>
            <pc:docMk/>
            <pc:sldMk cId="2003756454" sldId="278"/>
            <ac:spMk id="9" creationId="{81C1C634-FF3D-FA10-581B-8E69187FD821}"/>
          </ac:spMkLst>
        </pc:spChg>
        <pc:spChg chg="mod">
          <ac:chgData name="Milena Martinez Valenzuela" userId="be3f4e8d-1043-46cf-ba05-86ea3ca9d6fe" providerId="ADAL" clId="{99D9136B-12E8-468A-9712-3FDC53018C91}" dt="2023-12-11T14:34:29.969" v="592" actId="14100"/>
          <ac:spMkLst>
            <pc:docMk/>
            <pc:sldMk cId="2003756454" sldId="278"/>
            <ac:spMk id="11" creationId="{3D173641-0F7A-4FF0-B324-9D07A3A76CBD}"/>
          </ac:spMkLst>
        </pc:spChg>
        <pc:spChg chg="del">
          <ac:chgData name="Milena Martinez Valenzuela" userId="be3f4e8d-1043-46cf-ba05-86ea3ca9d6fe" providerId="ADAL" clId="{99D9136B-12E8-468A-9712-3FDC53018C91}" dt="2023-12-11T15:34:04.436" v="1925" actId="478"/>
          <ac:spMkLst>
            <pc:docMk/>
            <pc:sldMk cId="2003756454" sldId="278"/>
            <ac:spMk id="12" creationId="{C8252779-124A-5544-032A-9F5432FA5758}"/>
          </ac:spMkLst>
        </pc:spChg>
        <pc:graphicFrameChg chg="mod modGraphic">
          <ac:chgData name="Milena Martinez Valenzuela" userId="be3f4e8d-1043-46cf-ba05-86ea3ca9d6fe" providerId="ADAL" clId="{99D9136B-12E8-468A-9712-3FDC53018C91}" dt="2023-12-11T14:37:09.564" v="630" actId="122"/>
          <ac:graphicFrameMkLst>
            <pc:docMk/>
            <pc:sldMk cId="2003756454" sldId="278"/>
            <ac:graphicFrameMk id="5" creationId="{F659F7CB-A43E-0AFE-E3FE-3C95AEA8CBD2}"/>
          </ac:graphicFrameMkLst>
        </pc:graphicFrameChg>
        <pc:graphicFrameChg chg="mod modGraphic">
          <ac:chgData name="Milena Martinez Valenzuela" userId="be3f4e8d-1043-46cf-ba05-86ea3ca9d6fe" providerId="ADAL" clId="{99D9136B-12E8-468A-9712-3FDC53018C91}" dt="2023-12-11T14:37:05.097" v="629" actId="122"/>
          <ac:graphicFrameMkLst>
            <pc:docMk/>
            <pc:sldMk cId="2003756454" sldId="278"/>
            <ac:graphicFrameMk id="8" creationId="{37DA734C-2A23-88F8-C593-C73417A339BA}"/>
          </ac:graphicFrameMkLst>
        </pc:graphicFrameChg>
      </pc:sldChg>
      <pc:sldChg chg="addSp delSp modSp mod">
        <pc:chgData name="Milena Martinez Valenzuela" userId="be3f4e8d-1043-46cf-ba05-86ea3ca9d6fe" providerId="ADAL" clId="{99D9136B-12E8-468A-9712-3FDC53018C91}" dt="2023-12-11T15:34:14.870" v="1928"/>
        <pc:sldMkLst>
          <pc:docMk/>
          <pc:sldMk cId="2684714154" sldId="279"/>
        </pc:sldMkLst>
        <pc:spChg chg="add mod">
          <ac:chgData name="Milena Martinez Valenzuela" userId="be3f4e8d-1043-46cf-ba05-86ea3ca9d6fe" providerId="ADAL" clId="{99D9136B-12E8-468A-9712-3FDC53018C91}" dt="2023-12-11T15:34:14.870" v="1928"/>
          <ac:spMkLst>
            <pc:docMk/>
            <pc:sldMk cId="2684714154" sldId="279"/>
            <ac:spMk id="2" creationId="{1F6DE938-78D9-AAA3-0F85-DBE5F07E349C}"/>
          </ac:spMkLst>
        </pc:spChg>
        <pc:spChg chg="add mod">
          <ac:chgData name="Milena Martinez Valenzuela" userId="be3f4e8d-1043-46cf-ba05-86ea3ca9d6fe" providerId="ADAL" clId="{99D9136B-12E8-468A-9712-3FDC53018C91}" dt="2023-12-11T15:34:14.870" v="1928"/>
          <ac:spMkLst>
            <pc:docMk/>
            <pc:sldMk cId="2684714154" sldId="279"/>
            <ac:spMk id="3" creationId="{BBBEAF46-DCDD-9491-E2F8-F3145AFBD8F0}"/>
          </ac:spMkLst>
        </pc:spChg>
        <pc:spChg chg="mod">
          <ac:chgData name="Milena Martinez Valenzuela" userId="be3f4e8d-1043-46cf-ba05-86ea3ca9d6fe" providerId="ADAL" clId="{99D9136B-12E8-468A-9712-3FDC53018C91}" dt="2023-12-11T14:37:25.009" v="635" actId="14100"/>
          <ac:spMkLst>
            <pc:docMk/>
            <pc:sldMk cId="2684714154" sldId="279"/>
            <ac:spMk id="4" creationId="{FD1F2BED-BD52-6E3E-D692-EBCACDA8ABA4}"/>
          </ac:spMkLst>
        </pc:spChg>
        <pc:spChg chg="del">
          <ac:chgData name="Milena Martinez Valenzuela" userId="be3f4e8d-1043-46cf-ba05-86ea3ca9d6fe" providerId="ADAL" clId="{99D9136B-12E8-468A-9712-3FDC53018C91}" dt="2023-12-11T15:34:14.029" v="1927" actId="478"/>
          <ac:spMkLst>
            <pc:docMk/>
            <pc:sldMk cId="2684714154" sldId="279"/>
            <ac:spMk id="6" creationId="{52876A9C-7E5B-8E40-1917-2735AAE2BB45}"/>
          </ac:spMkLst>
        </pc:spChg>
        <pc:spChg chg="del">
          <ac:chgData name="Milena Martinez Valenzuela" userId="be3f4e8d-1043-46cf-ba05-86ea3ca9d6fe" providerId="ADAL" clId="{99D9136B-12E8-468A-9712-3FDC53018C91}" dt="2023-12-11T15:34:14.029" v="1927" actId="478"/>
          <ac:spMkLst>
            <pc:docMk/>
            <pc:sldMk cId="2684714154" sldId="279"/>
            <ac:spMk id="8" creationId="{45370B3E-F6E1-2B7A-ADA9-CB63DE3FB112}"/>
          </ac:spMkLst>
        </pc:spChg>
        <pc:spChg chg="mod">
          <ac:chgData name="Milena Martinez Valenzuela" userId="be3f4e8d-1043-46cf-ba05-86ea3ca9d6fe" providerId="ADAL" clId="{99D9136B-12E8-468A-9712-3FDC53018C91}" dt="2023-12-11T14:40:33.993" v="689" actId="1076"/>
          <ac:spMkLst>
            <pc:docMk/>
            <pc:sldMk cId="2684714154" sldId="279"/>
            <ac:spMk id="10" creationId="{D4F7E8F5-E4BD-4C84-9193-C9A4821F1140}"/>
          </ac:spMkLst>
        </pc:spChg>
        <pc:graphicFrameChg chg="mod modGraphic">
          <ac:chgData name="Milena Martinez Valenzuela" userId="be3f4e8d-1043-46cf-ba05-86ea3ca9d6fe" providerId="ADAL" clId="{99D9136B-12E8-468A-9712-3FDC53018C91}" dt="2023-12-11T14:41:35.315" v="701" actId="2062"/>
          <ac:graphicFrameMkLst>
            <pc:docMk/>
            <pc:sldMk cId="2684714154" sldId="279"/>
            <ac:graphicFrameMk id="7" creationId="{977B9D40-8D9C-2926-2151-5BBDB29578DF}"/>
          </ac:graphicFrameMkLst>
        </pc:graphicFrameChg>
      </pc:sldChg>
      <pc:sldChg chg="modSp mod">
        <pc:chgData name="Milena Martinez Valenzuela" userId="be3f4e8d-1043-46cf-ba05-86ea3ca9d6fe" providerId="ADAL" clId="{99D9136B-12E8-468A-9712-3FDC53018C91}" dt="2023-12-11T14:42:29.682" v="720" actId="14100"/>
        <pc:sldMkLst>
          <pc:docMk/>
          <pc:sldMk cId="1659341795" sldId="280"/>
        </pc:sldMkLst>
        <pc:spChg chg="mod">
          <ac:chgData name="Milena Martinez Valenzuela" userId="be3f4e8d-1043-46cf-ba05-86ea3ca9d6fe" providerId="ADAL" clId="{99D9136B-12E8-468A-9712-3FDC53018C91}" dt="2023-12-11T14:42:08.205" v="718" actId="2085"/>
          <ac:spMkLst>
            <pc:docMk/>
            <pc:sldMk cId="1659341795" sldId="280"/>
            <ac:spMk id="7" creationId="{02E78718-C78F-7824-C124-D674357AB82A}"/>
          </ac:spMkLst>
        </pc:spChg>
        <pc:spChg chg="mod">
          <ac:chgData name="Milena Martinez Valenzuela" userId="be3f4e8d-1043-46cf-ba05-86ea3ca9d6fe" providerId="ADAL" clId="{99D9136B-12E8-468A-9712-3FDC53018C91}" dt="2023-12-11T14:42:10.771" v="719" actId="14100"/>
          <ac:spMkLst>
            <pc:docMk/>
            <pc:sldMk cId="1659341795" sldId="280"/>
            <ac:spMk id="9" creationId="{8EFCF52D-C237-605F-857B-18A445DCD5BD}"/>
          </ac:spMkLst>
        </pc:spChg>
        <pc:spChg chg="mod">
          <ac:chgData name="Milena Martinez Valenzuela" userId="be3f4e8d-1043-46cf-ba05-86ea3ca9d6fe" providerId="ADAL" clId="{99D9136B-12E8-468A-9712-3FDC53018C91}" dt="2023-12-11T14:42:29.682" v="720" actId="14100"/>
          <ac:spMkLst>
            <pc:docMk/>
            <pc:sldMk cId="1659341795" sldId="280"/>
            <ac:spMk id="11" creationId="{EE937969-DCE7-D6A0-95A4-E349381B4CFF}"/>
          </ac:spMkLst>
        </pc:spChg>
      </pc:sldChg>
      <pc:sldChg chg="addSp delSp modSp mod">
        <pc:chgData name="Milena Martinez Valenzuela" userId="be3f4e8d-1043-46cf-ba05-86ea3ca9d6fe" providerId="ADAL" clId="{99D9136B-12E8-468A-9712-3FDC53018C91}" dt="2023-12-11T15:34:18.459" v="1930"/>
        <pc:sldMkLst>
          <pc:docMk/>
          <pc:sldMk cId="1286877226" sldId="282"/>
        </pc:sldMkLst>
        <pc:spChg chg="add mod">
          <ac:chgData name="Milena Martinez Valenzuela" userId="be3f4e8d-1043-46cf-ba05-86ea3ca9d6fe" providerId="ADAL" clId="{99D9136B-12E8-468A-9712-3FDC53018C91}" dt="2023-12-11T15:34:18.459" v="1930"/>
          <ac:spMkLst>
            <pc:docMk/>
            <pc:sldMk cId="1286877226" sldId="282"/>
            <ac:spMk id="2" creationId="{BCFC0BA9-58B7-4875-42FF-7F433F7B0B58}"/>
          </ac:spMkLst>
        </pc:spChg>
        <pc:spChg chg="mod">
          <ac:chgData name="Milena Martinez Valenzuela" userId="be3f4e8d-1043-46cf-ba05-86ea3ca9d6fe" providerId="ADAL" clId="{99D9136B-12E8-468A-9712-3FDC53018C91}" dt="2023-12-11T14:43:52.176" v="755" actId="20577"/>
          <ac:spMkLst>
            <pc:docMk/>
            <pc:sldMk cId="1286877226" sldId="282"/>
            <ac:spMk id="3" creationId="{00000000-0000-0000-0000-000000000000}"/>
          </ac:spMkLst>
        </pc:spChg>
        <pc:spChg chg="add mod">
          <ac:chgData name="Milena Martinez Valenzuela" userId="be3f4e8d-1043-46cf-ba05-86ea3ca9d6fe" providerId="ADAL" clId="{99D9136B-12E8-468A-9712-3FDC53018C91}" dt="2023-12-11T15:34:18.459" v="1930"/>
          <ac:spMkLst>
            <pc:docMk/>
            <pc:sldMk cId="1286877226" sldId="282"/>
            <ac:spMk id="4" creationId="{C97D6226-651B-1B13-85C8-3DB81BF16AD4}"/>
          </ac:spMkLst>
        </pc:spChg>
        <pc:spChg chg="mod">
          <ac:chgData name="Milena Martinez Valenzuela" userId="be3f4e8d-1043-46cf-ba05-86ea3ca9d6fe" providerId="ADAL" clId="{99D9136B-12E8-468A-9712-3FDC53018C91}" dt="2023-12-11T14:42:38.666" v="723" actId="14100"/>
          <ac:spMkLst>
            <pc:docMk/>
            <pc:sldMk cId="1286877226" sldId="282"/>
            <ac:spMk id="5" creationId="{79E08035-ABAC-E57B-6A42-A2E87C2E6713}"/>
          </ac:spMkLst>
        </pc:spChg>
        <pc:spChg chg="del">
          <ac:chgData name="Milena Martinez Valenzuela" userId="be3f4e8d-1043-46cf-ba05-86ea3ca9d6fe" providerId="ADAL" clId="{99D9136B-12E8-468A-9712-3FDC53018C91}" dt="2023-12-11T15:34:17.709" v="1929" actId="478"/>
          <ac:spMkLst>
            <pc:docMk/>
            <pc:sldMk cId="1286877226" sldId="282"/>
            <ac:spMk id="6" creationId="{73560195-BCE7-8CAE-49C9-0A701FE74FB6}"/>
          </ac:spMkLst>
        </pc:spChg>
        <pc:spChg chg="del">
          <ac:chgData name="Milena Martinez Valenzuela" userId="be3f4e8d-1043-46cf-ba05-86ea3ca9d6fe" providerId="ADAL" clId="{99D9136B-12E8-468A-9712-3FDC53018C91}" dt="2023-12-11T15:34:17.709" v="1929" actId="478"/>
          <ac:spMkLst>
            <pc:docMk/>
            <pc:sldMk cId="1286877226" sldId="282"/>
            <ac:spMk id="8" creationId="{2B90C214-6CF1-00C9-14A1-190233C979A8}"/>
          </ac:spMkLst>
        </pc:spChg>
      </pc:sldChg>
      <pc:sldChg chg="addSp delSp modSp mod">
        <pc:chgData name="Milena Martinez Valenzuela" userId="be3f4e8d-1043-46cf-ba05-86ea3ca9d6fe" providerId="ADAL" clId="{99D9136B-12E8-468A-9712-3FDC53018C91}" dt="2023-12-11T15:35:08.261" v="1952"/>
        <pc:sldMkLst>
          <pc:docMk/>
          <pc:sldMk cId="661125719" sldId="286"/>
        </pc:sldMkLst>
        <pc:spChg chg="del">
          <ac:chgData name="Milena Martinez Valenzuela" userId="be3f4e8d-1043-46cf-ba05-86ea3ca9d6fe" providerId="ADAL" clId="{99D9136B-12E8-468A-9712-3FDC53018C91}" dt="2023-12-11T15:35:07.441" v="1951" actId="478"/>
          <ac:spMkLst>
            <pc:docMk/>
            <pc:sldMk cId="661125719" sldId="286"/>
            <ac:spMk id="2" creationId="{642CF88F-B14D-E893-5A1C-8662862446A7}"/>
          </ac:spMkLst>
        </pc:spChg>
        <pc:spChg chg="del">
          <ac:chgData name="Milena Martinez Valenzuela" userId="be3f4e8d-1043-46cf-ba05-86ea3ca9d6fe" providerId="ADAL" clId="{99D9136B-12E8-468A-9712-3FDC53018C91}" dt="2023-12-11T15:35:07.441" v="1951" actId="478"/>
          <ac:spMkLst>
            <pc:docMk/>
            <pc:sldMk cId="661125719" sldId="286"/>
            <ac:spMk id="3" creationId="{792B993F-903B-D033-81D3-2760F58DF531}"/>
          </ac:spMkLst>
        </pc:spChg>
        <pc:spChg chg="mod">
          <ac:chgData name="Milena Martinez Valenzuela" userId="be3f4e8d-1043-46cf-ba05-86ea3ca9d6fe" providerId="ADAL" clId="{99D9136B-12E8-468A-9712-3FDC53018C91}" dt="2023-12-11T14:57:00.132" v="1104" actId="1036"/>
          <ac:spMkLst>
            <pc:docMk/>
            <pc:sldMk cId="661125719" sldId="286"/>
            <ac:spMk id="8" creationId="{00000000-0000-0000-0000-000000000000}"/>
          </ac:spMkLst>
        </pc:spChg>
        <pc:spChg chg="mod">
          <ac:chgData name="Milena Martinez Valenzuela" userId="be3f4e8d-1043-46cf-ba05-86ea3ca9d6fe" providerId="ADAL" clId="{99D9136B-12E8-468A-9712-3FDC53018C91}" dt="2023-12-11T14:54:13.977" v="1034" actId="2711"/>
          <ac:spMkLst>
            <pc:docMk/>
            <pc:sldMk cId="661125719" sldId="286"/>
            <ac:spMk id="9" creationId="{DF376DF3-9089-0915-6A81-7AA8FE109462}"/>
          </ac:spMkLst>
        </pc:spChg>
        <pc:spChg chg="mod">
          <ac:chgData name="Milena Martinez Valenzuela" userId="be3f4e8d-1043-46cf-ba05-86ea3ca9d6fe" providerId="ADAL" clId="{99D9136B-12E8-468A-9712-3FDC53018C91}" dt="2023-12-11T14:53:50.671" v="1032" actId="465"/>
          <ac:spMkLst>
            <pc:docMk/>
            <pc:sldMk cId="661125719" sldId="286"/>
            <ac:spMk id="10" creationId="{62CE1E3B-F346-8AC2-539B-851BA1B8027A}"/>
          </ac:spMkLst>
        </pc:spChg>
        <pc:spChg chg="mod">
          <ac:chgData name="Milena Martinez Valenzuela" userId="be3f4e8d-1043-46cf-ba05-86ea3ca9d6fe" providerId="ADAL" clId="{99D9136B-12E8-468A-9712-3FDC53018C91}" dt="2023-12-11T14:54:13.977" v="1034" actId="2711"/>
          <ac:spMkLst>
            <pc:docMk/>
            <pc:sldMk cId="661125719" sldId="286"/>
            <ac:spMk id="12" creationId="{64811130-DDD4-D69B-FD26-21D99C299F5C}"/>
          </ac:spMkLst>
        </pc:spChg>
        <pc:spChg chg="mod">
          <ac:chgData name="Milena Martinez Valenzuela" userId="be3f4e8d-1043-46cf-ba05-86ea3ca9d6fe" providerId="ADAL" clId="{99D9136B-12E8-468A-9712-3FDC53018C91}" dt="2023-12-11T14:54:13.977" v="1034" actId="2711"/>
          <ac:spMkLst>
            <pc:docMk/>
            <pc:sldMk cId="661125719" sldId="286"/>
            <ac:spMk id="13" creationId="{00000000-0000-0000-0000-000000000000}"/>
          </ac:spMkLst>
        </pc:spChg>
        <pc:spChg chg="mod">
          <ac:chgData name="Milena Martinez Valenzuela" userId="be3f4e8d-1043-46cf-ba05-86ea3ca9d6fe" providerId="ADAL" clId="{99D9136B-12E8-468A-9712-3FDC53018C91}" dt="2023-12-11T14:53:38.235" v="1031" actId="1035"/>
          <ac:spMkLst>
            <pc:docMk/>
            <pc:sldMk cId="661125719" sldId="286"/>
            <ac:spMk id="14" creationId="{CE5F27C9-AB1A-6BA8-2C3A-EBF09FA5B280}"/>
          </ac:spMkLst>
        </pc:spChg>
        <pc:spChg chg="mod">
          <ac:chgData name="Milena Martinez Valenzuela" userId="be3f4e8d-1043-46cf-ba05-86ea3ca9d6fe" providerId="ADAL" clId="{99D9136B-12E8-468A-9712-3FDC53018C91}" dt="2023-12-11T14:53:50.671" v="1032" actId="465"/>
          <ac:spMkLst>
            <pc:docMk/>
            <pc:sldMk cId="661125719" sldId="286"/>
            <ac:spMk id="15" creationId="{00000000-0000-0000-0000-000000000000}"/>
          </ac:spMkLst>
        </pc:spChg>
        <pc:spChg chg="add mod">
          <ac:chgData name="Milena Martinez Valenzuela" userId="be3f4e8d-1043-46cf-ba05-86ea3ca9d6fe" providerId="ADAL" clId="{99D9136B-12E8-468A-9712-3FDC53018C91}" dt="2023-12-11T15:35:08.261" v="1952"/>
          <ac:spMkLst>
            <pc:docMk/>
            <pc:sldMk cId="661125719" sldId="286"/>
            <ac:spMk id="22" creationId="{DA937FED-F1EA-C26E-D913-97368150EECE}"/>
          </ac:spMkLst>
        </pc:spChg>
        <pc:spChg chg="add mod">
          <ac:chgData name="Milena Martinez Valenzuela" userId="be3f4e8d-1043-46cf-ba05-86ea3ca9d6fe" providerId="ADAL" clId="{99D9136B-12E8-468A-9712-3FDC53018C91}" dt="2023-12-11T15:35:08.261" v="1952"/>
          <ac:spMkLst>
            <pc:docMk/>
            <pc:sldMk cId="661125719" sldId="286"/>
            <ac:spMk id="23" creationId="{A82ABB9B-0BA8-367F-1EC0-37AEB188A55E}"/>
          </ac:spMkLst>
        </pc:spChg>
        <pc:cxnChg chg="mod">
          <ac:chgData name="Milena Martinez Valenzuela" userId="be3f4e8d-1043-46cf-ba05-86ea3ca9d6fe" providerId="ADAL" clId="{99D9136B-12E8-468A-9712-3FDC53018C91}" dt="2023-12-11T14:53:14.382" v="1011" actId="552"/>
          <ac:cxnSpMkLst>
            <pc:docMk/>
            <pc:sldMk cId="661125719" sldId="286"/>
            <ac:cxnSpMk id="6" creationId="{00000000-0000-0000-0000-000000000000}"/>
          </ac:cxnSpMkLst>
        </pc:cxnChg>
        <pc:cxnChg chg="mod">
          <ac:chgData name="Milena Martinez Valenzuela" userId="be3f4e8d-1043-46cf-ba05-86ea3ca9d6fe" providerId="ADAL" clId="{99D9136B-12E8-468A-9712-3FDC53018C91}" dt="2023-12-11T14:53:50.671" v="1032" actId="465"/>
          <ac:cxnSpMkLst>
            <pc:docMk/>
            <pc:sldMk cId="661125719" sldId="286"/>
            <ac:cxnSpMk id="11" creationId="{A5EB9FD0-7076-799D-1410-51D9182B9F50}"/>
          </ac:cxnSpMkLst>
        </pc:cxnChg>
        <pc:cxnChg chg="mod">
          <ac:chgData name="Milena Martinez Valenzuela" userId="be3f4e8d-1043-46cf-ba05-86ea3ca9d6fe" providerId="ADAL" clId="{99D9136B-12E8-468A-9712-3FDC53018C91}" dt="2023-12-11T14:53:50.671" v="1032" actId="465"/>
          <ac:cxnSpMkLst>
            <pc:docMk/>
            <pc:sldMk cId="661125719" sldId="286"/>
            <ac:cxnSpMk id="25" creationId="{00000000-0000-0000-0000-000000000000}"/>
          </ac:cxnSpMkLst>
        </pc:cxnChg>
      </pc:sldChg>
      <pc:sldChg chg="addSp delSp modSp mod">
        <pc:chgData name="Milena Martinez Valenzuela" userId="be3f4e8d-1043-46cf-ba05-86ea3ca9d6fe" providerId="ADAL" clId="{99D9136B-12E8-468A-9712-3FDC53018C91}" dt="2023-12-11T15:35:12.153" v="1954"/>
        <pc:sldMkLst>
          <pc:docMk/>
          <pc:sldMk cId="2129006491" sldId="287"/>
        </pc:sldMkLst>
        <pc:spChg chg="mod">
          <ac:chgData name="Milena Martinez Valenzuela" userId="be3f4e8d-1043-46cf-ba05-86ea3ca9d6fe" providerId="ADAL" clId="{99D9136B-12E8-468A-9712-3FDC53018C91}" dt="2023-12-11T14:56:06.018" v="1079" actId="465"/>
          <ac:spMkLst>
            <pc:docMk/>
            <pc:sldMk cId="2129006491" sldId="287"/>
            <ac:spMk id="2" creationId="{00000000-0000-0000-0000-000000000000}"/>
          </ac:spMkLst>
        </pc:spChg>
        <pc:spChg chg="del">
          <ac:chgData name="Milena Martinez Valenzuela" userId="be3f4e8d-1043-46cf-ba05-86ea3ca9d6fe" providerId="ADAL" clId="{99D9136B-12E8-468A-9712-3FDC53018C91}" dt="2023-12-11T15:35:11.377" v="1953" actId="478"/>
          <ac:spMkLst>
            <pc:docMk/>
            <pc:sldMk cId="2129006491" sldId="287"/>
            <ac:spMk id="3" creationId="{DC1BD3CC-3784-37A8-9E8D-F309A3BDE9B2}"/>
          </ac:spMkLst>
        </pc:spChg>
        <pc:spChg chg="mod">
          <ac:chgData name="Milena Martinez Valenzuela" userId="be3f4e8d-1043-46cf-ba05-86ea3ca9d6fe" providerId="ADAL" clId="{99D9136B-12E8-468A-9712-3FDC53018C91}" dt="2023-12-11T14:56:12.162" v="1080" actId="1076"/>
          <ac:spMkLst>
            <pc:docMk/>
            <pc:sldMk cId="2129006491" sldId="287"/>
            <ac:spMk id="4" creationId="{9C001E54-D39F-94B7-69EB-F8C24C25922A}"/>
          </ac:spMkLst>
        </pc:spChg>
        <pc:spChg chg="mod">
          <ac:chgData name="Milena Martinez Valenzuela" userId="be3f4e8d-1043-46cf-ba05-86ea3ca9d6fe" providerId="ADAL" clId="{99D9136B-12E8-468A-9712-3FDC53018C91}" dt="2023-12-11T14:56:51.570" v="1101" actId="1076"/>
          <ac:spMkLst>
            <pc:docMk/>
            <pc:sldMk cId="2129006491" sldId="287"/>
            <ac:spMk id="8" creationId="{D199A181-2E3F-3DA3-301D-BE646354ADF9}"/>
          </ac:spMkLst>
        </pc:spChg>
        <pc:spChg chg="mod">
          <ac:chgData name="Milena Martinez Valenzuela" userId="be3f4e8d-1043-46cf-ba05-86ea3ca9d6fe" providerId="ADAL" clId="{99D9136B-12E8-468A-9712-3FDC53018C91}" dt="2023-12-11T14:56:06.018" v="1079" actId="465"/>
          <ac:spMkLst>
            <pc:docMk/>
            <pc:sldMk cId="2129006491" sldId="287"/>
            <ac:spMk id="9" creationId="{93C8290D-4F54-2376-D037-FEB163A3E3C6}"/>
          </ac:spMkLst>
        </pc:spChg>
        <pc:spChg chg="del">
          <ac:chgData name="Milena Martinez Valenzuela" userId="be3f4e8d-1043-46cf-ba05-86ea3ca9d6fe" providerId="ADAL" clId="{99D9136B-12E8-468A-9712-3FDC53018C91}" dt="2023-12-11T15:35:11.377" v="1953" actId="478"/>
          <ac:spMkLst>
            <pc:docMk/>
            <pc:sldMk cId="2129006491" sldId="287"/>
            <ac:spMk id="12" creationId="{62755CA7-EE52-8C2D-F710-358E43937280}"/>
          </ac:spMkLst>
        </pc:spChg>
        <pc:spChg chg="mod">
          <ac:chgData name="Milena Martinez Valenzuela" userId="be3f4e8d-1043-46cf-ba05-86ea3ca9d6fe" providerId="ADAL" clId="{99D9136B-12E8-468A-9712-3FDC53018C91}" dt="2023-12-11T14:55:35.937" v="1072" actId="2085"/>
          <ac:spMkLst>
            <pc:docMk/>
            <pc:sldMk cId="2129006491" sldId="287"/>
            <ac:spMk id="16" creationId="{00000000-0000-0000-0000-000000000000}"/>
          </ac:spMkLst>
        </pc:spChg>
        <pc:spChg chg="mod">
          <ac:chgData name="Milena Martinez Valenzuela" userId="be3f4e8d-1043-46cf-ba05-86ea3ca9d6fe" providerId="ADAL" clId="{99D9136B-12E8-468A-9712-3FDC53018C91}" dt="2023-12-11T14:55:44.371" v="1075" actId="14100"/>
          <ac:spMkLst>
            <pc:docMk/>
            <pc:sldMk cId="2129006491" sldId="287"/>
            <ac:spMk id="20" creationId="{00000000-0000-0000-0000-000000000000}"/>
          </ac:spMkLst>
        </pc:spChg>
        <pc:spChg chg="mod">
          <ac:chgData name="Milena Martinez Valenzuela" userId="be3f4e8d-1043-46cf-ba05-86ea3ca9d6fe" providerId="ADAL" clId="{99D9136B-12E8-468A-9712-3FDC53018C91}" dt="2023-12-11T14:56:06.018" v="1079" actId="465"/>
          <ac:spMkLst>
            <pc:docMk/>
            <pc:sldMk cId="2129006491" sldId="287"/>
            <ac:spMk id="21" creationId="{00000000-0000-0000-0000-000000000000}"/>
          </ac:spMkLst>
        </pc:spChg>
        <pc:spChg chg="mod">
          <ac:chgData name="Milena Martinez Valenzuela" userId="be3f4e8d-1043-46cf-ba05-86ea3ca9d6fe" providerId="ADAL" clId="{99D9136B-12E8-468A-9712-3FDC53018C91}" dt="2023-12-11T14:56:15.123" v="1081" actId="1076"/>
          <ac:spMkLst>
            <pc:docMk/>
            <pc:sldMk cId="2129006491" sldId="287"/>
            <ac:spMk id="23" creationId="{00000000-0000-0000-0000-000000000000}"/>
          </ac:spMkLst>
        </pc:spChg>
        <pc:spChg chg="mod">
          <ac:chgData name="Milena Martinez Valenzuela" userId="be3f4e8d-1043-46cf-ba05-86ea3ca9d6fe" providerId="ADAL" clId="{99D9136B-12E8-468A-9712-3FDC53018C91}" dt="2023-12-11T14:56:06.018" v="1079" actId="465"/>
          <ac:spMkLst>
            <pc:docMk/>
            <pc:sldMk cId="2129006491" sldId="287"/>
            <ac:spMk id="24" creationId="{00000000-0000-0000-0000-000000000000}"/>
          </ac:spMkLst>
        </pc:spChg>
        <pc:spChg chg="add mod">
          <ac:chgData name="Milena Martinez Valenzuela" userId="be3f4e8d-1043-46cf-ba05-86ea3ca9d6fe" providerId="ADAL" clId="{99D9136B-12E8-468A-9712-3FDC53018C91}" dt="2023-12-11T15:35:12.153" v="1954"/>
          <ac:spMkLst>
            <pc:docMk/>
            <pc:sldMk cId="2129006491" sldId="287"/>
            <ac:spMk id="27" creationId="{73591906-DB92-BFC6-7F5C-DC7B9C7929C9}"/>
          </ac:spMkLst>
        </pc:spChg>
        <pc:spChg chg="add mod">
          <ac:chgData name="Milena Martinez Valenzuela" userId="be3f4e8d-1043-46cf-ba05-86ea3ca9d6fe" providerId="ADAL" clId="{99D9136B-12E8-468A-9712-3FDC53018C91}" dt="2023-12-11T15:35:12.153" v="1954"/>
          <ac:spMkLst>
            <pc:docMk/>
            <pc:sldMk cId="2129006491" sldId="287"/>
            <ac:spMk id="28" creationId="{46E9702B-21CF-E191-8A2B-405699E783AD}"/>
          </ac:spMkLst>
        </pc:spChg>
        <pc:cxnChg chg="mod">
          <ac:chgData name="Milena Martinez Valenzuela" userId="be3f4e8d-1043-46cf-ba05-86ea3ca9d6fe" providerId="ADAL" clId="{99D9136B-12E8-468A-9712-3FDC53018C91}" dt="2023-12-11T14:56:02.011" v="1078" actId="553"/>
          <ac:cxnSpMkLst>
            <pc:docMk/>
            <pc:sldMk cId="2129006491" sldId="287"/>
            <ac:cxnSpMk id="6" creationId="{00000000-0000-0000-0000-000000000000}"/>
          </ac:cxnSpMkLst>
        </pc:cxnChg>
        <pc:cxnChg chg="mod">
          <ac:chgData name="Milena Martinez Valenzuela" userId="be3f4e8d-1043-46cf-ba05-86ea3ca9d6fe" providerId="ADAL" clId="{99D9136B-12E8-468A-9712-3FDC53018C91}" dt="2023-12-11T14:56:42.770" v="1098" actId="1036"/>
          <ac:cxnSpMkLst>
            <pc:docMk/>
            <pc:sldMk cId="2129006491" sldId="287"/>
            <ac:cxnSpMk id="10" creationId="{41FDD716-198E-8E83-3717-F1BD428F9E66}"/>
          </ac:cxnSpMkLst>
        </pc:cxnChg>
        <pc:cxnChg chg="mod">
          <ac:chgData name="Milena Martinez Valenzuela" userId="be3f4e8d-1043-46cf-ba05-86ea3ca9d6fe" providerId="ADAL" clId="{99D9136B-12E8-468A-9712-3FDC53018C91}" dt="2023-12-11T14:56:36.147" v="1084" actId="14100"/>
          <ac:cxnSpMkLst>
            <pc:docMk/>
            <pc:sldMk cId="2129006491" sldId="287"/>
            <ac:cxnSpMk id="11" creationId="{F7E1CEA2-03FE-D481-5AD2-A79E154D00D1}"/>
          </ac:cxnSpMkLst>
        </pc:cxnChg>
        <pc:cxnChg chg="mod">
          <ac:chgData name="Milena Martinez Valenzuela" userId="be3f4e8d-1043-46cf-ba05-86ea3ca9d6fe" providerId="ADAL" clId="{99D9136B-12E8-468A-9712-3FDC53018C91}" dt="2023-12-11T14:56:06.018" v="1079" actId="465"/>
          <ac:cxnSpMkLst>
            <pc:docMk/>
            <pc:sldMk cId="2129006491" sldId="287"/>
            <ac:cxnSpMk id="18" creationId="{00000000-0000-0000-0000-000000000000}"/>
          </ac:cxnSpMkLst>
        </pc:cxnChg>
        <pc:cxnChg chg="mod">
          <ac:chgData name="Milena Martinez Valenzuela" userId="be3f4e8d-1043-46cf-ba05-86ea3ca9d6fe" providerId="ADAL" clId="{99D9136B-12E8-468A-9712-3FDC53018C91}" dt="2023-12-11T14:56:06.018" v="1079" actId="465"/>
          <ac:cxnSpMkLst>
            <pc:docMk/>
            <pc:sldMk cId="2129006491" sldId="287"/>
            <ac:cxnSpMk id="25" creationId="{00000000-0000-0000-0000-000000000000}"/>
          </ac:cxnSpMkLst>
        </pc:cxnChg>
      </pc:sldChg>
      <pc:sldChg chg="addSp delSp modSp mod">
        <pc:chgData name="Milena Martinez Valenzuela" userId="be3f4e8d-1043-46cf-ba05-86ea3ca9d6fe" providerId="ADAL" clId="{99D9136B-12E8-468A-9712-3FDC53018C91}" dt="2023-12-11T15:33:33.437" v="1914"/>
        <pc:sldMkLst>
          <pc:docMk/>
          <pc:sldMk cId="2726296481" sldId="292"/>
        </pc:sldMkLst>
        <pc:spChg chg="mod">
          <ac:chgData name="Milena Martinez Valenzuela" userId="be3f4e8d-1043-46cf-ba05-86ea3ca9d6fe" providerId="ADAL" clId="{99D9136B-12E8-468A-9712-3FDC53018C91}" dt="2023-12-11T14:24:20.674" v="379" actId="14100"/>
          <ac:spMkLst>
            <pc:docMk/>
            <pc:sldMk cId="2726296481" sldId="292"/>
            <ac:spMk id="3" creationId="{00000000-0000-0000-0000-000000000000}"/>
          </ac:spMkLst>
        </pc:spChg>
        <pc:spChg chg="mod">
          <ac:chgData name="Milena Martinez Valenzuela" userId="be3f4e8d-1043-46cf-ba05-86ea3ca9d6fe" providerId="ADAL" clId="{99D9136B-12E8-468A-9712-3FDC53018C91}" dt="2023-12-11T14:26:14.889" v="410" actId="1076"/>
          <ac:spMkLst>
            <pc:docMk/>
            <pc:sldMk cId="2726296481" sldId="292"/>
            <ac:spMk id="4" creationId="{00000000-0000-0000-0000-000000000000}"/>
          </ac:spMkLst>
        </pc:spChg>
        <pc:spChg chg="del">
          <ac:chgData name="Milena Martinez Valenzuela" userId="be3f4e8d-1043-46cf-ba05-86ea3ca9d6fe" providerId="ADAL" clId="{99D9136B-12E8-468A-9712-3FDC53018C91}" dt="2023-12-11T15:33:32.556" v="1913" actId="478"/>
          <ac:spMkLst>
            <pc:docMk/>
            <pc:sldMk cId="2726296481" sldId="292"/>
            <ac:spMk id="6" creationId="{8DA5908E-0125-E5FC-6D56-870A68AEBDCD}"/>
          </ac:spMkLst>
        </pc:spChg>
        <pc:spChg chg="add mod">
          <ac:chgData name="Milena Martinez Valenzuela" userId="be3f4e8d-1043-46cf-ba05-86ea3ca9d6fe" providerId="ADAL" clId="{99D9136B-12E8-468A-9712-3FDC53018C91}" dt="2023-12-11T15:33:33.437" v="1914"/>
          <ac:spMkLst>
            <pc:docMk/>
            <pc:sldMk cId="2726296481" sldId="292"/>
            <ac:spMk id="7" creationId="{A96363BF-886B-6E35-4832-9B848B72F25A}"/>
          </ac:spMkLst>
        </pc:spChg>
        <pc:spChg chg="del">
          <ac:chgData name="Milena Martinez Valenzuela" userId="be3f4e8d-1043-46cf-ba05-86ea3ca9d6fe" providerId="ADAL" clId="{99D9136B-12E8-468A-9712-3FDC53018C91}" dt="2023-12-11T15:33:32.556" v="1913" actId="478"/>
          <ac:spMkLst>
            <pc:docMk/>
            <pc:sldMk cId="2726296481" sldId="292"/>
            <ac:spMk id="8" creationId="{261E5CBA-939F-2243-6B96-BA7D46529B67}"/>
          </ac:spMkLst>
        </pc:spChg>
        <pc:spChg chg="add mod">
          <ac:chgData name="Milena Martinez Valenzuela" userId="be3f4e8d-1043-46cf-ba05-86ea3ca9d6fe" providerId="ADAL" clId="{99D9136B-12E8-468A-9712-3FDC53018C91}" dt="2023-12-11T15:33:33.437" v="1914"/>
          <ac:spMkLst>
            <pc:docMk/>
            <pc:sldMk cId="2726296481" sldId="292"/>
            <ac:spMk id="9" creationId="{316EE3FD-93C1-5324-E2EE-26EF3D482A59}"/>
          </ac:spMkLst>
        </pc:spChg>
        <pc:graphicFrameChg chg="mod modGraphic">
          <ac:chgData name="Milena Martinez Valenzuela" userId="be3f4e8d-1043-46cf-ba05-86ea3ca9d6fe" providerId="ADAL" clId="{99D9136B-12E8-468A-9712-3FDC53018C91}" dt="2023-12-11T14:26:11.089" v="409" actId="1076"/>
          <ac:graphicFrameMkLst>
            <pc:docMk/>
            <pc:sldMk cId="2726296481" sldId="292"/>
            <ac:graphicFrameMk id="2" creationId="{5EEFAE31-FD6E-18C4-EED9-C391D5D6D54C}"/>
          </ac:graphicFrameMkLst>
        </pc:graphicFrameChg>
      </pc:sldChg>
      <pc:sldChg chg="modSp mod">
        <pc:chgData name="Milena Martinez Valenzuela" userId="be3f4e8d-1043-46cf-ba05-86ea3ca9d6fe" providerId="ADAL" clId="{99D9136B-12E8-468A-9712-3FDC53018C91}" dt="2023-12-11T14:50:21.756" v="924" actId="14100"/>
        <pc:sldMkLst>
          <pc:docMk/>
          <pc:sldMk cId="2481179631" sldId="298"/>
        </pc:sldMkLst>
        <pc:spChg chg="mod">
          <ac:chgData name="Milena Martinez Valenzuela" userId="be3f4e8d-1043-46cf-ba05-86ea3ca9d6fe" providerId="ADAL" clId="{99D9136B-12E8-468A-9712-3FDC53018C91}" dt="2023-12-11T14:50:17.994" v="923" actId="1076"/>
          <ac:spMkLst>
            <pc:docMk/>
            <pc:sldMk cId="2481179631" sldId="298"/>
            <ac:spMk id="7" creationId="{93E5770B-911A-6D5F-E1F1-2CE364F1BFD5}"/>
          </ac:spMkLst>
        </pc:spChg>
        <pc:spChg chg="mod">
          <ac:chgData name="Milena Martinez Valenzuela" userId="be3f4e8d-1043-46cf-ba05-86ea3ca9d6fe" providerId="ADAL" clId="{99D9136B-12E8-468A-9712-3FDC53018C91}" dt="2023-12-11T14:50:21.756" v="924" actId="14100"/>
          <ac:spMkLst>
            <pc:docMk/>
            <pc:sldMk cId="2481179631" sldId="298"/>
            <ac:spMk id="9" creationId="{4E9AE144-466A-E5E3-25D8-30F489C5C70F}"/>
          </ac:spMkLst>
        </pc:spChg>
        <pc:spChg chg="mod">
          <ac:chgData name="Milena Martinez Valenzuela" userId="be3f4e8d-1043-46cf-ba05-86ea3ca9d6fe" providerId="ADAL" clId="{99D9136B-12E8-468A-9712-3FDC53018C91}" dt="2023-12-11T14:50:05.994" v="919" actId="1076"/>
          <ac:spMkLst>
            <pc:docMk/>
            <pc:sldMk cId="2481179631" sldId="298"/>
            <ac:spMk id="11" creationId="{4666F611-E0C7-08CE-5CEB-921D8177CE22}"/>
          </ac:spMkLst>
        </pc:spChg>
      </pc:sldChg>
      <pc:sldChg chg="modSp mod">
        <pc:chgData name="Milena Martinez Valenzuela" userId="be3f4e8d-1043-46cf-ba05-86ea3ca9d6fe" providerId="ADAL" clId="{99D9136B-12E8-468A-9712-3FDC53018C91}" dt="2023-12-11T15:03:57.514" v="1200" actId="1076"/>
        <pc:sldMkLst>
          <pc:docMk/>
          <pc:sldMk cId="2284376074" sldId="299"/>
        </pc:sldMkLst>
        <pc:spChg chg="mod">
          <ac:chgData name="Milena Martinez Valenzuela" userId="be3f4e8d-1043-46cf-ba05-86ea3ca9d6fe" providerId="ADAL" clId="{99D9136B-12E8-468A-9712-3FDC53018C91}" dt="2023-12-11T15:03:48.459" v="1198" actId="14100"/>
          <ac:spMkLst>
            <pc:docMk/>
            <pc:sldMk cId="2284376074" sldId="299"/>
            <ac:spMk id="7" creationId="{CAF03E3D-FCF5-6C31-7516-903BE9BEFBD2}"/>
          </ac:spMkLst>
        </pc:spChg>
        <pc:spChg chg="mod">
          <ac:chgData name="Milena Martinez Valenzuela" userId="be3f4e8d-1043-46cf-ba05-86ea3ca9d6fe" providerId="ADAL" clId="{99D9136B-12E8-468A-9712-3FDC53018C91}" dt="2023-12-11T15:03:51.100" v="1199" actId="207"/>
          <ac:spMkLst>
            <pc:docMk/>
            <pc:sldMk cId="2284376074" sldId="299"/>
            <ac:spMk id="9" creationId="{A6A8AC91-66AF-FC49-426A-8FF1B4DEDD80}"/>
          </ac:spMkLst>
        </pc:spChg>
        <pc:spChg chg="mod">
          <ac:chgData name="Milena Martinez Valenzuela" userId="be3f4e8d-1043-46cf-ba05-86ea3ca9d6fe" providerId="ADAL" clId="{99D9136B-12E8-468A-9712-3FDC53018C91}" dt="2023-12-11T15:03:57.514" v="1200" actId="1076"/>
          <ac:spMkLst>
            <pc:docMk/>
            <pc:sldMk cId="2284376074" sldId="299"/>
            <ac:spMk id="11" creationId="{4BE81623-A1A2-A2D0-758E-5512E3E6DF75}"/>
          </ac:spMkLst>
        </pc:spChg>
      </pc:sldChg>
      <pc:sldChg chg="addSp delSp modSp mod modCm">
        <pc:chgData name="Milena Martinez Valenzuela" userId="be3f4e8d-1043-46cf-ba05-86ea3ca9d6fe" providerId="ADAL" clId="{99D9136B-12E8-468A-9712-3FDC53018C91}" dt="2023-12-11T15:34:28.515" v="1936"/>
        <pc:sldMkLst>
          <pc:docMk/>
          <pc:sldMk cId="4279748001" sldId="302"/>
        </pc:sldMkLst>
        <pc:spChg chg="add mod">
          <ac:chgData name="Milena Martinez Valenzuela" userId="be3f4e8d-1043-46cf-ba05-86ea3ca9d6fe" providerId="ADAL" clId="{99D9136B-12E8-468A-9712-3FDC53018C91}" dt="2023-12-11T15:34:28.515" v="1936"/>
          <ac:spMkLst>
            <pc:docMk/>
            <pc:sldMk cId="4279748001" sldId="302"/>
            <ac:spMk id="2" creationId="{FFF87172-CB09-6AF8-5A64-876AA2D82272}"/>
          </ac:spMkLst>
        </pc:spChg>
        <pc:spChg chg="mod">
          <ac:chgData name="Milena Martinez Valenzuela" userId="be3f4e8d-1043-46cf-ba05-86ea3ca9d6fe" providerId="ADAL" clId="{99D9136B-12E8-468A-9712-3FDC53018C91}" dt="2023-12-11T14:45:51.829" v="798" actId="179"/>
          <ac:spMkLst>
            <pc:docMk/>
            <pc:sldMk cId="4279748001" sldId="302"/>
            <ac:spMk id="3" creationId="{00000000-0000-0000-0000-000000000000}"/>
          </ac:spMkLst>
        </pc:spChg>
        <pc:spChg chg="del">
          <ac:chgData name="Milena Martinez Valenzuela" userId="be3f4e8d-1043-46cf-ba05-86ea3ca9d6fe" providerId="ADAL" clId="{99D9136B-12E8-468A-9712-3FDC53018C91}" dt="2023-12-11T15:34:27.703" v="1935" actId="478"/>
          <ac:spMkLst>
            <pc:docMk/>
            <pc:sldMk cId="4279748001" sldId="302"/>
            <ac:spMk id="4" creationId="{1B7E999B-4723-1B87-DEAB-9947F2A56D1F}"/>
          </ac:spMkLst>
        </pc:spChg>
        <pc:spChg chg="add mod">
          <ac:chgData name="Milena Martinez Valenzuela" userId="be3f4e8d-1043-46cf-ba05-86ea3ca9d6fe" providerId="ADAL" clId="{99D9136B-12E8-468A-9712-3FDC53018C91}" dt="2023-12-11T15:34:28.515" v="1936"/>
          <ac:spMkLst>
            <pc:docMk/>
            <pc:sldMk cId="4279748001" sldId="302"/>
            <ac:spMk id="5" creationId="{DAA82284-A2FB-ED19-B6EA-DF071AF846C1}"/>
          </ac:spMkLst>
        </pc:spChg>
        <pc:spChg chg="del">
          <ac:chgData name="Milena Martinez Valenzuela" userId="be3f4e8d-1043-46cf-ba05-86ea3ca9d6fe" providerId="ADAL" clId="{99D9136B-12E8-468A-9712-3FDC53018C91}" dt="2023-12-11T15:34:27.703" v="1935" actId="478"/>
          <ac:spMkLst>
            <pc:docMk/>
            <pc:sldMk cId="4279748001" sldId="302"/>
            <ac:spMk id="6" creationId="{73BA71A5-993C-A75D-7DA6-568DC5657733}"/>
          </ac:spMkLst>
        </pc:spChg>
        <pc:spChg chg="mod">
          <ac:chgData name="Milena Martinez Valenzuela" userId="be3f4e8d-1043-46cf-ba05-86ea3ca9d6fe" providerId="ADAL" clId="{99D9136B-12E8-468A-9712-3FDC53018C91}" dt="2023-12-11T14:46:38.251" v="814" actId="1037"/>
          <ac:spMkLst>
            <pc:docMk/>
            <pc:sldMk cId="4279748001" sldId="302"/>
            <ac:spMk id="7" creationId="{03FB9D43-B474-E85B-791C-D00FAB6333BE}"/>
          </ac:spMkLst>
        </pc:spChg>
        <pc:extLst>
          <p:ext xmlns:p="http://schemas.openxmlformats.org/presentationml/2006/main" uri="{D6D511B9-2390-475A-947B-AFAB55BFBCF1}">
            <pc226:cmChg xmlns:pc226="http://schemas.microsoft.com/office/powerpoint/2022/06/main/command" chg="mod">
              <pc226:chgData name="Milena Martinez Valenzuela" userId="be3f4e8d-1043-46cf-ba05-86ea3ca9d6fe" providerId="ADAL" clId="{99D9136B-12E8-468A-9712-3FDC53018C91}" dt="2023-12-11T14:45:35.469" v="795" actId="20577"/>
              <pc2:cmMkLst xmlns:pc2="http://schemas.microsoft.com/office/powerpoint/2019/9/main/command">
                <pc:docMk/>
                <pc:sldMk cId="4279748001" sldId="302"/>
                <pc2:cmMk id="{E427E80D-03EC-4B83-9304-48BCA48313CE}"/>
              </pc2:cmMkLst>
            </pc226:cmChg>
            <pc226:cmChg xmlns:pc226="http://schemas.microsoft.com/office/powerpoint/2022/06/main/command" chg="mod">
              <pc226:chgData name="Milena Martinez Valenzuela" userId="be3f4e8d-1043-46cf-ba05-86ea3ca9d6fe" providerId="ADAL" clId="{99D9136B-12E8-468A-9712-3FDC53018C91}" dt="2023-12-11T14:45:35.469" v="795" actId="20577"/>
              <pc2:cmMkLst xmlns:pc2="http://schemas.microsoft.com/office/powerpoint/2019/9/main/command">
                <pc:docMk/>
                <pc:sldMk cId="4279748001" sldId="302"/>
                <pc2:cmMk id="{4330354C-1772-4DDA-897B-FADF92902E74}"/>
              </pc2:cmMkLst>
            </pc226:cmChg>
          </p:ext>
        </pc:extLst>
      </pc:sldChg>
      <pc:sldChg chg="addSp delSp modSp mod">
        <pc:chgData name="Milena Martinez Valenzuela" userId="be3f4e8d-1043-46cf-ba05-86ea3ca9d6fe" providerId="ADAL" clId="{99D9136B-12E8-468A-9712-3FDC53018C91}" dt="2023-12-11T15:33:41.125" v="1916"/>
        <pc:sldMkLst>
          <pc:docMk/>
          <pc:sldMk cId="190917172" sldId="315"/>
        </pc:sldMkLst>
        <pc:spChg chg="add mod">
          <ac:chgData name="Milena Martinez Valenzuela" userId="be3f4e8d-1043-46cf-ba05-86ea3ca9d6fe" providerId="ADAL" clId="{99D9136B-12E8-468A-9712-3FDC53018C91}" dt="2023-12-11T15:33:41.125" v="1916"/>
          <ac:spMkLst>
            <pc:docMk/>
            <pc:sldMk cId="190917172" sldId="315"/>
            <ac:spMk id="2" creationId="{A913E2A7-79DE-6C2F-F302-2FAA7CE0D505}"/>
          </ac:spMkLst>
        </pc:spChg>
        <pc:spChg chg="mod">
          <ac:chgData name="Milena Martinez Valenzuela" userId="be3f4e8d-1043-46cf-ba05-86ea3ca9d6fe" providerId="ADAL" clId="{99D9136B-12E8-468A-9712-3FDC53018C91}" dt="2023-12-11T14:27:09.290" v="426" actId="1076"/>
          <ac:spMkLst>
            <pc:docMk/>
            <pc:sldMk cId="190917172" sldId="315"/>
            <ac:spMk id="3" creationId="{00000000-0000-0000-0000-000000000000}"/>
          </ac:spMkLst>
        </pc:spChg>
        <pc:spChg chg="mod">
          <ac:chgData name="Milena Martinez Valenzuela" userId="be3f4e8d-1043-46cf-ba05-86ea3ca9d6fe" providerId="ADAL" clId="{99D9136B-12E8-468A-9712-3FDC53018C91}" dt="2023-12-11T14:27:55.961" v="442" actId="1076"/>
          <ac:spMkLst>
            <pc:docMk/>
            <pc:sldMk cId="190917172" sldId="315"/>
            <ac:spMk id="4" creationId="{00000000-0000-0000-0000-000000000000}"/>
          </ac:spMkLst>
        </pc:spChg>
        <pc:spChg chg="add mod">
          <ac:chgData name="Milena Martinez Valenzuela" userId="be3f4e8d-1043-46cf-ba05-86ea3ca9d6fe" providerId="ADAL" clId="{99D9136B-12E8-468A-9712-3FDC53018C91}" dt="2023-12-11T15:33:41.125" v="1916"/>
          <ac:spMkLst>
            <pc:docMk/>
            <pc:sldMk cId="190917172" sldId="315"/>
            <ac:spMk id="5" creationId="{824A8DB3-315B-4DE6-4E05-559CE629C48B}"/>
          </ac:spMkLst>
        </pc:spChg>
        <pc:spChg chg="del">
          <ac:chgData name="Milena Martinez Valenzuela" userId="be3f4e8d-1043-46cf-ba05-86ea3ca9d6fe" providerId="ADAL" clId="{99D9136B-12E8-468A-9712-3FDC53018C91}" dt="2023-12-11T15:33:40.110" v="1915" actId="478"/>
          <ac:spMkLst>
            <pc:docMk/>
            <pc:sldMk cId="190917172" sldId="315"/>
            <ac:spMk id="6" creationId="{190F6B67-4741-5EBB-EBE0-089341B4C089}"/>
          </ac:spMkLst>
        </pc:spChg>
        <pc:spChg chg="del">
          <ac:chgData name="Milena Martinez Valenzuela" userId="be3f4e8d-1043-46cf-ba05-86ea3ca9d6fe" providerId="ADAL" clId="{99D9136B-12E8-468A-9712-3FDC53018C91}" dt="2023-12-11T15:33:40.110" v="1915" actId="478"/>
          <ac:spMkLst>
            <pc:docMk/>
            <pc:sldMk cId="190917172" sldId="315"/>
            <ac:spMk id="8" creationId="{5EFBA2A7-2024-45E6-52F1-5BF511C8DF8E}"/>
          </ac:spMkLst>
        </pc:spChg>
      </pc:sldChg>
      <pc:sldChg chg="addSp delSp modSp mod">
        <pc:chgData name="Milena Martinez Valenzuela" userId="be3f4e8d-1043-46cf-ba05-86ea3ca9d6fe" providerId="ADAL" clId="{99D9136B-12E8-468A-9712-3FDC53018C91}" dt="2023-12-11T15:33:45.101" v="1918"/>
        <pc:sldMkLst>
          <pc:docMk/>
          <pc:sldMk cId="2685066924" sldId="317"/>
        </pc:sldMkLst>
        <pc:spChg chg="add mod">
          <ac:chgData name="Milena Martinez Valenzuela" userId="be3f4e8d-1043-46cf-ba05-86ea3ca9d6fe" providerId="ADAL" clId="{99D9136B-12E8-468A-9712-3FDC53018C91}" dt="2023-12-11T15:33:45.101" v="1918"/>
          <ac:spMkLst>
            <pc:docMk/>
            <pc:sldMk cId="2685066924" sldId="317"/>
            <ac:spMk id="2" creationId="{6E82127A-30EF-D8D8-FAC8-D4CA1AFE1016}"/>
          </ac:spMkLst>
        </pc:spChg>
        <pc:spChg chg="del">
          <ac:chgData name="Milena Martinez Valenzuela" userId="be3f4e8d-1043-46cf-ba05-86ea3ca9d6fe" providerId="ADAL" clId="{99D9136B-12E8-468A-9712-3FDC53018C91}" dt="2023-12-11T15:33:44.268" v="1917" actId="478"/>
          <ac:spMkLst>
            <pc:docMk/>
            <pc:sldMk cId="2685066924" sldId="317"/>
            <ac:spMk id="3" creationId="{4BA67DF5-7D35-7945-2EC9-610DD6717A67}"/>
          </ac:spMkLst>
        </pc:spChg>
        <pc:spChg chg="mod">
          <ac:chgData name="Milena Martinez Valenzuela" userId="be3f4e8d-1043-46cf-ba05-86ea3ca9d6fe" providerId="ADAL" clId="{99D9136B-12E8-468A-9712-3FDC53018C91}" dt="2023-12-11T14:28:07.641" v="445" actId="1076"/>
          <ac:spMkLst>
            <pc:docMk/>
            <pc:sldMk cId="2685066924" sldId="317"/>
            <ac:spMk id="4" creationId="{F4BFACB6-EF56-555C-7344-34F4D88EC1D7}"/>
          </ac:spMkLst>
        </pc:spChg>
        <pc:spChg chg="del">
          <ac:chgData name="Milena Martinez Valenzuela" userId="be3f4e8d-1043-46cf-ba05-86ea3ca9d6fe" providerId="ADAL" clId="{99D9136B-12E8-468A-9712-3FDC53018C91}" dt="2023-12-11T15:33:44.268" v="1917" actId="478"/>
          <ac:spMkLst>
            <pc:docMk/>
            <pc:sldMk cId="2685066924" sldId="317"/>
            <ac:spMk id="5" creationId="{7EA162FE-1AB2-19DC-D4FC-1C3F7DC18134}"/>
          </ac:spMkLst>
        </pc:spChg>
        <pc:spChg chg="add mod">
          <ac:chgData name="Milena Martinez Valenzuela" userId="be3f4e8d-1043-46cf-ba05-86ea3ca9d6fe" providerId="ADAL" clId="{99D9136B-12E8-468A-9712-3FDC53018C91}" dt="2023-12-11T15:33:45.101" v="1918"/>
          <ac:spMkLst>
            <pc:docMk/>
            <pc:sldMk cId="2685066924" sldId="317"/>
            <ac:spMk id="7" creationId="{D1A9F4B0-5550-96EE-A068-C01CCC88CE8D}"/>
          </ac:spMkLst>
        </pc:spChg>
        <pc:picChg chg="mod modCrop">
          <ac:chgData name="Milena Martinez Valenzuela" userId="be3f4e8d-1043-46cf-ba05-86ea3ca9d6fe" providerId="ADAL" clId="{99D9136B-12E8-468A-9712-3FDC53018C91}" dt="2023-12-11T14:29:05.090" v="473" actId="732"/>
          <ac:picMkLst>
            <pc:docMk/>
            <pc:sldMk cId="2685066924" sldId="317"/>
            <ac:picMk id="6" creationId="{7D887D13-CC92-5BD6-C855-C1F62FC96CAF}"/>
          </ac:picMkLst>
        </pc:picChg>
        <pc:picChg chg="mod modCrop">
          <ac:chgData name="Milena Martinez Valenzuela" userId="be3f4e8d-1043-46cf-ba05-86ea3ca9d6fe" providerId="ADAL" clId="{99D9136B-12E8-468A-9712-3FDC53018C91}" dt="2023-12-11T14:29:08.769" v="474" actId="14100"/>
          <ac:picMkLst>
            <pc:docMk/>
            <pc:sldMk cId="2685066924" sldId="317"/>
            <ac:picMk id="10" creationId="{9501745F-4851-7888-647A-4AE0DF7B64F5}"/>
          </ac:picMkLst>
        </pc:picChg>
        <pc:picChg chg="mod ord modCrop">
          <ac:chgData name="Milena Martinez Valenzuela" userId="be3f4e8d-1043-46cf-ba05-86ea3ca9d6fe" providerId="ADAL" clId="{99D9136B-12E8-468A-9712-3FDC53018C91}" dt="2023-12-11T14:29:33.001" v="482" actId="732"/>
          <ac:picMkLst>
            <pc:docMk/>
            <pc:sldMk cId="2685066924" sldId="317"/>
            <ac:picMk id="12" creationId="{7AF9D053-6955-7188-455C-6D555BF6F157}"/>
          </ac:picMkLst>
        </pc:picChg>
      </pc:sldChg>
      <pc:sldChg chg="addSp delSp modSp mod">
        <pc:chgData name="Milena Martinez Valenzuela" userId="be3f4e8d-1043-46cf-ba05-86ea3ca9d6fe" providerId="ADAL" clId="{99D9136B-12E8-468A-9712-3FDC53018C91}" dt="2023-12-11T15:32:57.561" v="1896"/>
        <pc:sldMkLst>
          <pc:docMk/>
          <pc:sldMk cId="2096805658" sldId="10269"/>
        </pc:sldMkLst>
        <pc:spChg chg="mod">
          <ac:chgData name="Milena Martinez Valenzuela" userId="be3f4e8d-1043-46cf-ba05-86ea3ca9d6fe" providerId="ADAL" clId="{99D9136B-12E8-468A-9712-3FDC53018C91}" dt="2023-12-11T14:16:03.905" v="131" actId="1036"/>
          <ac:spMkLst>
            <pc:docMk/>
            <pc:sldMk cId="2096805658" sldId="10269"/>
            <ac:spMk id="2" creationId="{79FF9171-4EFA-C7FC-9453-8B12E46DE596}"/>
          </ac:spMkLst>
        </pc:spChg>
        <pc:spChg chg="mod">
          <ac:chgData name="Milena Martinez Valenzuela" userId="be3f4e8d-1043-46cf-ba05-86ea3ca9d6fe" providerId="ADAL" clId="{99D9136B-12E8-468A-9712-3FDC53018C91}" dt="2023-12-11T14:08:46.832" v="37" actId="1076"/>
          <ac:spMkLst>
            <pc:docMk/>
            <pc:sldMk cId="2096805658" sldId="10269"/>
            <ac:spMk id="3" creationId="{BB36762E-BAF2-776C-29FA-4AD255223907}"/>
          </ac:spMkLst>
        </pc:spChg>
        <pc:spChg chg="add mod">
          <ac:chgData name="Milena Martinez Valenzuela" userId="be3f4e8d-1043-46cf-ba05-86ea3ca9d6fe" providerId="ADAL" clId="{99D9136B-12E8-468A-9712-3FDC53018C91}" dt="2023-12-11T15:32:57.561" v="1896"/>
          <ac:spMkLst>
            <pc:docMk/>
            <pc:sldMk cId="2096805658" sldId="10269"/>
            <ac:spMk id="6" creationId="{335624C0-BA16-AFAD-19FB-586574018ECE}"/>
          </ac:spMkLst>
        </pc:spChg>
        <pc:spChg chg="del">
          <ac:chgData name="Milena Martinez Valenzuela" userId="be3f4e8d-1043-46cf-ba05-86ea3ca9d6fe" providerId="ADAL" clId="{99D9136B-12E8-468A-9712-3FDC53018C91}" dt="2023-12-11T15:32:56.484" v="1895" actId="478"/>
          <ac:spMkLst>
            <pc:docMk/>
            <pc:sldMk cId="2096805658" sldId="10269"/>
            <ac:spMk id="7" creationId="{3334E831-84D2-462E-A445-F13223E65886}"/>
          </ac:spMkLst>
        </pc:spChg>
        <pc:spChg chg="del">
          <ac:chgData name="Milena Martinez Valenzuela" userId="be3f4e8d-1043-46cf-ba05-86ea3ca9d6fe" providerId="ADAL" clId="{99D9136B-12E8-468A-9712-3FDC53018C91}" dt="2023-12-11T15:32:56.484" v="1895" actId="478"/>
          <ac:spMkLst>
            <pc:docMk/>
            <pc:sldMk cId="2096805658" sldId="10269"/>
            <ac:spMk id="8" creationId="{9C202F89-21EF-4C59-B355-7B561504F373}"/>
          </ac:spMkLst>
        </pc:spChg>
        <pc:spChg chg="add mod">
          <ac:chgData name="Milena Martinez Valenzuela" userId="be3f4e8d-1043-46cf-ba05-86ea3ca9d6fe" providerId="ADAL" clId="{99D9136B-12E8-468A-9712-3FDC53018C91}" dt="2023-12-11T15:32:57.561" v="1896"/>
          <ac:spMkLst>
            <pc:docMk/>
            <pc:sldMk cId="2096805658" sldId="10269"/>
            <ac:spMk id="9" creationId="{4019C814-F7D7-177E-4A8F-6922377C1E6A}"/>
          </ac:spMkLst>
        </pc:spChg>
        <pc:graphicFrameChg chg="mod">
          <ac:chgData name="Milena Martinez Valenzuela" userId="be3f4e8d-1043-46cf-ba05-86ea3ca9d6fe" providerId="ADAL" clId="{99D9136B-12E8-468A-9712-3FDC53018C91}" dt="2023-12-11T14:15:27.883" v="106" actId="207"/>
          <ac:graphicFrameMkLst>
            <pc:docMk/>
            <pc:sldMk cId="2096805658" sldId="10269"/>
            <ac:graphicFrameMk id="4" creationId="{18BA50D7-319E-4153-A49E-EDF92994841E}"/>
          </ac:graphicFrameMkLst>
        </pc:graphicFrameChg>
        <pc:graphicFrameChg chg="mod">
          <ac:chgData name="Milena Martinez Valenzuela" userId="be3f4e8d-1043-46cf-ba05-86ea3ca9d6fe" providerId="ADAL" clId="{99D9136B-12E8-468A-9712-3FDC53018C91}" dt="2023-12-11T14:15:29.450" v="107" actId="207"/>
          <ac:graphicFrameMkLst>
            <pc:docMk/>
            <pc:sldMk cId="2096805658" sldId="10269"/>
            <ac:graphicFrameMk id="5" creationId="{24921215-C586-0936-E2D2-D12349ED9615}"/>
          </ac:graphicFrameMkLst>
        </pc:graphicFrameChg>
      </pc:sldChg>
      <pc:sldChg chg="addSp delSp modSp mod">
        <pc:chgData name="Milena Martinez Valenzuela" userId="be3f4e8d-1043-46cf-ba05-86ea3ca9d6fe" providerId="ADAL" clId="{99D9136B-12E8-468A-9712-3FDC53018C91}" dt="2023-12-11T15:34:00.695" v="1924"/>
        <pc:sldMkLst>
          <pc:docMk/>
          <pc:sldMk cId="3271780845" sldId="10403"/>
        </pc:sldMkLst>
        <pc:spChg chg="add mod">
          <ac:chgData name="Milena Martinez Valenzuela" userId="be3f4e8d-1043-46cf-ba05-86ea3ca9d6fe" providerId="ADAL" clId="{99D9136B-12E8-468A-9712-3FDC53018C91}" dt="2023-12-11T15:34:00.695" v="1924"/>
          <ac:spMkLst>
            <pc:docMk/>
            <pc:sldMk cId="3271780845" sldId="10403"/>
            <ac:spMk id="2" creationId="{5DF856DF-BC14-FD9A-C324-DC00BC4CA220}"/>
          </ac:spMkLst>
        </pc:spChg>
        <pc:spChg chg="del">
          <ac:chgData name="Milena Martinez Valenzuela" userId="be3f4e8d-1043-46cf-ba05-86ea3ca9d6fe" providerId="ADAL" clId="{99D9136B-12E8-468A-9712-3FDC53018C91}" dt="2023-12-11T15:33:59.868" v="1923" actId="478"/>
          <ac:spMkLst>
            <pc:docMk/>
            <pc:sldMk cId="3271780845" sldId="10403"/>
            <ac:spMk id="3" creationId="{7B2667B1-D601-C87C-AFAC-1ECADC650058}"/>
          </ac:spMkLst>
        </pc:spChg>
        <pc:spChg chg="del">
          <ac:chgData name="Milena Martinez Valenzuela" userId="be3f4e8d-1043-46cf-ba05-86ea3ca9d6fe" providerId="ADAL" clId="{99D9136B-12E8-468A-9712-3FDC53018C91}" dt="2023-12-11T15:33:59.868" v="1923" actId="478"/>
          <ac:spMkLst>
            <pc:docMk/>
            <pc:sldMk cId="3271780845" sldId="10403"/>
            <ac:spMk id="5" creationId="{427BF765-D4CE-3A5C-F151-D0B68D09C63D}"/>
          </ac:spMkLst>
        </pc:spChg>
        <pc:spChg chg="add mod">
          <ac:chgData name="Milena Martinez Valenzuela" userId="be3f4e8d-1043-46cf-ba05-86ea3ca9d6fe" providerId="ADAL" clId="{99D9136B-12E8-468A-9712-3FDC53018C91}" dt="2023-12-11T15:34:00.695" v="1924"/>
          <ac:spMkLst>
            <pc:docMk/>
            <pc:sldMk cId="3271780845" sldId="10403"/>
            <ac:spMk id="6" creationId="{50350C40-DC02-A104-46F0-B274F1F9B496}"/>
          </ac:spMkLst>
        </pc:spChg>
        <pc:spChg chg="mod">
          <ac:chgData name="Milena Martinez Valenzuela" userId="be3f4e8d-1043-46cf-ba05-86ea3ca9d6fe" providerId="ADAL" clId="{99D9136B-12E8-468A-9712-3FDC53018C91}" dt="2023-12-11T14:31:27.161" v="530" actId="1037"/>
          <ac:spMkLst>
            <pc:docMk/>
            <pc:sldMk cId="3271780845" sldId="10403"/>
            <ac:spMk id="8" creationId="{475EA3C9-3F03-3CA4-FC58-5E2F3FA20896}"/>
          </ac:spMkLst>
        </pc:spChg>
        <pc:graphicFrameChg chg="mod">
          <ac:chgData name="Milena Martinez Valenzuela" userId="be3f4e8d-1043-46cf-ba05-86ea3ca9d6fe" providerId="ADAL" clId="{99D9136B-12E8-468A-9712-3FDC53018C91}" dt="2023-12-11T14:33:14.855" v="569" actId="2711"/>
          <ac:graphicFrameMkLst>
            <pc:docMk/>
            <pc:sldMk cId="3271780845" sldId="10403"/>
            <ac:graphicFrameMk id="4" creationId="{22006101-9E8C-AF6E-8186-1C5F5FFEEA42}"/>
          </ac:graphicFrameMkLst>
        </pc:graphicFrameChg>
      </pc:sldChg>
      <pc:sldChg chg="addSp delSp modSp mod">
        <pc:chgData name="Milena Martinez Valenzuela" userId="be3f4e8d-1043-46cf-ba05-86ea3ca9d6fe" providerId="ADAL" clId="{99D9136B-12E8-468A-9712-3FDC53018C91}" dt="2023-12-11T15:35:14.765" v="1956"/>
        <pc:sldMkLst>
          <pc:docMk/>
          <pc:sldMk cId="946714700" sldId="10404"/>
        </pc:sldMkLst>
        <pc:spChg chg="del">
          <ac:chgData name="Milena Martinez Valenzuela" userId="be3f4e8d-1043-46cf-ba05-86ea3ca9d6fe" providerId="ADAL" clId="{99D9136B-12E8-468A-9712-3FDC53018C91}" dt="2023-12-11T15:35:14.005" v="1955" actId="478"/>
          <ac:spMkLst>
            <pc:docMk/>
            <pc:sldMk cId="946714700" sldId="10404"/>
            <ac:spMk id="3" creationId="{DC1BD3CC-3784-37A8-9E8D-F309A3BDE9B2}"/>
          </ac:spMkLst>
        </pc:spChg>
        <pc:spChg chg="mod">
          <ac:chgData name="Milena Martinez Valenzuela" userId="be3f4e8d-1043-46cf-ba05-86ea3ca9d6fe" providerId="ADAL" clId="{99D9136B-12E8-468A-9712-3FDC53018C91}" dt="2023-12-11T14:57:09.706" v="1107" actId="1076"/>
          <ac:spMkLst>
            <pc:docMk/>
            <pc:sldMk cId="946714700" sldId="10404"/>
            <ac:spMk id="8" creationId="{D199A181-2E3F-3DA3-301D-BE646354ADF9}"/>
          </ac:spMkLst>
        </pc:spChg>
        <pc:spChg chg="del">
          <ac:chgData name="Milena Martinez Valenzuela" userId="be3f4e8d-1043-46cf-ba05-86ea3ca9d6fe" providerId="ADAL" clId="{99D9136B-12E8-468A-9712-3FDC53018C91}" dt="2023-12-11T15:35:14.005" v="1955" actId="478"/>
          <ac:spMkLst>
            <pc:docMk/>
            <pc:sldMk cId="946714700" sldId="10404"/>
            <ac:spMk id="12" creationId="{62755CA7-EE52-8C2D-F710-358E43937280}"/>
          </ac:spMkLst>
        </pc:spChg>
        <pc:spChg chg="mod">
          <ac:chgData name="Milena Martinez Valenzuela" userId="be3f4e8d-1043-46cf-ba05-86ea3ca9d6fe" providerId="ADAL" clId="{99D9136B-12E8-468A-9712-3FDC53018C91}" dt="2023-12-11T14:59:50.731" v="1172" actId="1036"/>
          <ac:spMkLst>
            <pc:docMk/>
            <pc:sldMk cId="946714700" sldId="10404"/>
            <ac:spMk id="13" creationId="{F923AD76-AEA7-9D2A-6A6A-A70D8378176E}"/>
          </ac:spMkLst>
        </pc:spChg>
        <pc:spChg chg="mod">
          <ac:chgData name="Milena Martinez Valenzuela" userId="be3f4e8d-1043-46cf-ba05-86ea3ca9d6fe" providerId="ADAL" clId="{99D9136B-12E8-468A-9712-3FDC53018C91}" dt="2023-12-11T14:59:06.799" v="1149" actId="465"/>
          <ac:spMkLst>
            <pc:docMk/>
            <pc:sldMk cId="946714700" sldId="10404"/>
            <ac:spMk id="14" creationId="{CD9DF521-4C22-F389-FDC6-A70B2EE6BE4C}"/>
          </ac:spMkLst>
        </pc:spChg>
        <pc:spChg chg="mod">
          <ac:chgData name="Milena Martinez Valenzuela" userId="be3f4e8d-1043-46cf-ba05-86ea3ca9d6fe" providerId="ADAL" clId="{99D9136B-12E8-468A-9712-3FDC53018C91}" dt="2023-12-11T14:57:41.876" v="1133" actId="14100"/>
          <ac:spMkLst>
            <pc:docMk/>
            <pc:sldMk cId="946714700" sldId="10404"/>
            <ac:spMk id="16" creationId="{00000000-0000-0000-0000-000000000000}"/>
          </ac:spMkLst>
        </pc:spChg>
        <pc:spChg chg="mod">
          <ac:chgData name="Milena Martinez Valenzuela" userId="be3f4e8d-1043-46cf-ba05-86ea3ca9d6fe" providerId="ADAL" clId="{99D9136B-12E8-468A-9712-3FDC53018C91}" dt="2023-12-11T14:59:58.082" v="1174" actId="1036"/>
          <ac:spMkLst>
            <pc:docMk/>
            <pc:sldMk cId="946714700" sldId="10404"/>
            <ac:spMk id="17" creationId="{C9B1621E-A6D7-1B03-B18B-7F1E7C7F4F85}"/>
          </ac:spMkLst>
        </pc:spChg>
        <pc:spChg chg="mod">
          <ac:chgData name="Milena Martinez Valenzuela" userId="be3f4e8d-1043-46cf-ba05-86ea3ca9d6fe" providerId="ADAL" clId="{99D9136B-12E8-468A-9712-3FDC53018C91}" dt="2023-12-11T14:59:06.799" v="1149" actId="465"/>
          <ac:spMkLst>
            <pc:docMk/>
            <pc:sldMk cId="946714700" sldId="10404"/>
            <ac:spMk id="19" creationId="{84B2ED00-AB45-E7E0-F11C-E09CB54F3C53}"/>
          </ac:spMkLst>
        </pc:spChg>
        <pc:spChg chg="add mod">
          <ac:chgData name="Milena Martinez Valenzuela" userId="be3f4e8d-1043-46cf-ba05-86ea3ca9d6fe" providerId="ADAL" clId="{99D9136B-12E8-468A-9712-3FDC53018C91}" dt="2023-12-11T15:35:14.765" v="1956"/>
          <ac:spMkLst>
            <pc:docMk/>
            <pc:sldMk cId="946714700" sldId="10404"/>
            <ac:spMk id="20" creationId="{1A82BB24-B8DB-BC41-00D9-1A0DE7194758}"/>
          </ac:spMkLst>
        </pc:spChg>
        <pc:spChg chg="add mod">
          <ac:chgData name="Milena Martinez Valenzuela" userId="be3f4e8d-1043-46cf-ba05-86ea3ca9d6fe" providerId="ADAL" clId="{99D9136B-12E8-468A-9712-3FDC53018C91}" dt="2023-12-11T15:35:14.765" v="1956"/>
          <ac:spMkLst>
            <pc:docMk/>
            <pc:sldMk cId="946714700" sldId="10404"/>
            <ac:spMk id="21" creationId="{1873D899-0DF0-2719-3E9B-BC4D0470FAF1}"/>
          </ac:spMkLst>
        </pc:spChg>
        <pc:spChg chg="mod">
          <ac:chgData name="Milena Martinez Valenzuela" userId="be3f4e8d-1043-46cf-ba05-86ea3ca9d6fe" providerId="ADAL" clId="{99D9136B-12E8-468A-9712-3FDC53018C91}" dt="2023-12-11T14:59:06.799" v="1149" actId="465"/>
          <ac:spMkLst>
            <pc:docMk/>
            <pc:sldMk cId="946714700" sldId="10404"/>
            <ac:spMk id="24" creationId="{00000000-0000-0000-0000-000000000000}"/>
          </ac:spMkLst>
        </pc:spChg>
        <pc:spChg chg="mod">
          <ac:chgData name="Milena Martinez Valenzuela" userId="be3f4e8d-1043-46cf-ba05-86ea3ca9d6fe" providerId="ADAL" clId="{99D9136B-12E8-468A-9712-3FDC53018C91}" dt="2023-12-11T14:59:29.570" v="1166" actId="1036"/>
          <ac:spMkLst>
            <pc:docMk/>
            <pc:sldMk cId="946714700" sldId="10404"/>
            <ac:spMk id="26" creationId="{8E4B3BA5-B165-423F-ACD8-AC67B4112D44}"/>
          </ac:spMkLst>
        </pc:spChg>
        <pc:spChg chg="mod">
          <ac:chgData name="Milena Martinez Valenzuela" userId="be3f4e8d-1043-46cf-ba05-86ea3ca9d6fe" providerId="ADAL" clId="{99D9136B-12E8-468A-9712-3FDC53018C91}" dt="2023-12-11T14:59:06.799" v="1149" actId="465"/>
          <ac:spMkLst>
            <pc:docMk/>
            <pc:sldMk cId="946714700" sldId="10404"/>
            <ac:spMk id="27" creationId="{05ACB083-D5E1-0AAA-E07F-EB289EFF7AEE}"/>
          </ac:spMkLst>
        </pc:spChg>
        <pc:spChg chg="mod">
          <ac:chgData name="Milena Martinez Valenzuela" userId="be3f4e8d-1043-46cf-ba05-86ea3ca9d6fe" providerId="ADAL" clId="{99D9136B-12E8-468A-9712-3FDC53018C91}" dt="2023-12-11T14:59:32.259" v="1167" actId="1076"/>
          <ac:spMkLst>
            <pc:docMk/>
            <pc:sldMk cId="946714700" sldId="10404"/>
            <ac:spMk id="29" creationId="{7DC93321-C461-9B1A-1C4B-25996F34EAE7}"/>
          </ac:spMkLst>
        </pc:spChg>
        <pc:spChg chg="mod">
          <ac:chgData name="Milena Martinez Valenzuela" userId="be3f4e8d-1043-46cf-ba05-86ea3ca9d6fe" providerId="ADAL" clId="{99D9136B-12E8-468A-9712-3FDC53018C91}" dt="2023-12-11T14:58:43.313" v="1147" actId="553"/>
          <ac:spMkLst>
            <pc:docMk/>
            <pc:sldMk cId="946714700" sldId="10404"/>
            <ac:spMk id="30" creationId="{0E1BC0FB-6523-AE0A-2F49-2A8A0B34CAE8}"/>
          </ac:spMkLst>
        </pc:spChg>
        <pc:cxnChg chg="mod">
          <ac:chgData name="Milena Martinez Valenzuela" userId="be3f4e8d-1043-46cf-ba05-86ea3ca9d6fe" providerId="ADAL" clId="{99D9136B-12E8-468A-9712-3FDC53018C91}" dt="2023-12-11T14:59:37.611" v="1168" actId="14100"/>
          <ac:cxnSpMkLst>
            <pc:docMk/>
            <pc:sldMk cId="946714700" sldId="10404"/>
            <ac:cxnSpMk id="5" creationId="{00000000-0000-0000-0000-000000000000}"/>
          </ac:cxnSpMkLst>
        </pc:cxnChg>
        <pc:cxnChg chg="mod">
          <ac:chgData name="Milena Martinez Valenzuela" userId="be3f4e8d-1043-46cf-ba05-86ea3ca9d6fe" providerId="ADAL" clId="{99D9136B-12E8-468A-9712-3FDC53018C91}" dt="2023-12-11T14:58:43.313" v="1147" actId="553"/>
          <ac:cxnSpMkLst>
            <pc:docMk/>
            <pc:sldMk cId="946714700" sldId="10404"/>
            <ac:cxnSpMk id="6" creationId="{00000000-0000-0000-0000-000000000000}"/>
          </ac:cxnSpMkLst>
        </pc:cxnChg>
        <pc:cxnChg chg="mod">
          <ac:chgData name="Milena Martinez Valenzuela" userId="be3f4e8d-1043-46cf-ba05-86ea3ca9d6fe" providerId="ADAL" clId="{99D9136B-12E8-468A-9712-3FDC53018C91}" dt="2023-12-11T14:59:14.138" v="1151" actId="14100"/>
          <ac:cxnSpMkLst>
            <pc:docMk/>
            <pc:sldMk cId="946714700" sldId="10404"/>
            <ac:cxnSpMk id="15" creationId="{FF0F5008-C92F-189D-A2BA-896BFFAE9C8D}"/>
          </ac:cxnSpMkLst>
        </pc:cxnChg>
        <pc:cxnChg chg="mod">
          <ac:chgData name="Milena Martinez Valenzuela" userId="be3f4e8d-1043-46cf-ba05-86ea3ca9d6fe" providerId="ADAL" clId="{99D9136B-12E8-468A-9712-3FDC53018C91}" dt="2023-12-11T14:59:11.394" v="1150" actId="14100"/>
          <ac:cxnSpMkLst>
            <pc:docMk/>
            <pc:sldMk cId="946714700" sldId="10404"/>
            <ac:cxnSpMk id="18" creationId="{00000000-0000-0000-0000-000000000000}"/>
          </ac:cxnSpMkLst>
        </pc:cxnChg>
        <pc:cxnChg chg="mod">
          <ac:chgData name="Milena Martinez Valenzuela" userId="be3f4e8d-1043-46cf-ba05-86ea3ca9d6fe" providerId="ADAL" clId="{99D9136B-12E8-468A-9712-3FDC53018C91}" dt="2023-12-11T14:59:16.146" v="1152" actId="14100"/>
          <ac:cxnSpMkLst>
            <pc:docMk/>
            <pc:sldMk cId="946714700" sldId="10404"/>
            <ac:cxnSpMk id="22" creationId="{C31B5ED3-2378-972F-6BE5-48E62CEF50EA}"/>
          </ac:cxnSpMkLst>
        </pc:cxnChg>
        <pc:cxnChg chg="mod">
          <ac:chgData name="Milena Martinez Valenzuela" userId="be3f4e8d-1043-46cf-ba05-86ea3ca9d6fe" providerId="ADAL" clId="{99D9136B-12E8-468A-9712-3FDC53018C91}" dt="2023-12-11T14:59:19.258" v="1153" actId="14100"/>
          <ac:cxnSpMkLst>
            <pc:docMk/>
            <pc:sldMk cId="946714700" sldId="10404"/>
            <ac:cxnSpMk id="28" creationId="{4262E8CA-8623-25E2-E2A6-6BFD8B6392A0}"/>
          </ac:cxnSpMkLst>
        </pc:cxnChg>
      </pc:sldChg>
      <pc:sldChg chg="addSp delSp modSp mod">
        <pc:chgData name="Milena Martinez Valenzuela" userId="be3f4e8d-1043-46cf-ba05-86ea3ca9d6fe" providerId="ADAL" clId="{99D9136B-12E8-468A-9712-3FDC53018C91}" dt="2023-12-11T15:35:17.625" v="1958"/>
        <pc:sldMkLst>
          <pc:docMk/>
          <pc:sldMk cId="3968378464" sldId="10405"/>
        </pc:sldMkLst>
        <pc:spChg chg="del">
          <ac:chgData name="Milena Martinez Valenzuela" userId="be3f4e8d-1043-46cf-ba05-86ea3ca9d6fe" providerId="ADAL" clId="{99D9136B-12E8-468A-9712-3FDC53018C91}" dt="2023-12-11T15:35:16.812" v="1957" actId="478"/>
          <ac:spMkLst>
            <pc:docMk/>
            <pc:sldMk cId="3968378464" sldId="10405"/>
            <ac:spMk id="3" creationId="{DC1BD3CC-3784-37A8-9E8D-F309A3BDE9B2}"/>
          </ac:spMkLst>
        </pc:spChg>
        <pc:spChg chg="mod">
          <ac:chgData name="Milena Martinez Valenzuela" userId="be3f4e8d-1043-46cf-ba05-86ea3ca9d6fe" providerId="ADAL" clId="{99D9136B-12E8-468A-9712-3FDC53018C91}" dt="2023-12-11T15:01:00.947" v="1177" actId="1076"/>
          <ac:spMkLst>
            <pc:docMk/>
            <pc:sldMk cId="3968378464" sldId="10405"/>
            <ac:spMk id="8" creationId="{D199A181-2E3F-3DA3-301D-BE646354ADF9}"/>
          </ac:spMkLst>
        </pc:spChg>
        <pc:spChg chg="del">
          <ac:chgData name="Milena Martinez Valenzuela" userId="be3f4e8d-1043-46cf-ba05-86ea3ca9d6fe" providerId="ADAL" clId="{99D9136B-12E8-468A-9712-3FDC53018C91}" dt="2023-12-11T15:35:16.812" v="1957" actId="478"/>
          <ac:spMkLst>
            <pc:docMk/>
            <pc:sldMk cId="3968378464" sldId="10405"/>
            <ac:spMk id="12" creationId="{62755CA7-EE52-8C2D-F710-358E43937280}"/>
          </ac:spMkLst>
        </pc:spChg>
        <pc:spChg chg="mod">
          <ac:chgData name="Milena Martinez Valenzuela" userId="be3f4e8d-1043-46cf-ba05-86ea3ca9d6fe" providerId="ADAL" clId="{99D9136B-12E8-468A-9712-3FDC53018C91}" dt="2023-12-11T15:01:26.475" v="1190" actId="1036"/>
          <ac:spMkLst>
            <pc:docMk/>
            <pc:sldMk cId="3968378464" sldId="10405"/>
            <ac:spMk id="13" creationId="{F923AD76-AEA7-9D2A-6A6A-A70D8378176E}"/>
          </ac:spMkLst>
        </pc:spChg>
        <pc:spChg chg="mod">
          <ac:chgData name="Milena Martinez Valenzuela" userId="be3f4e8d-1043-46cf-ba05-86ea3ca9d6fe" providerId="ADAL" clId="{99D9136B-12E8-468A-9712-3FDC53018C91}" dt="2023-12-11T15:01:26.475" v="1190" actId="1036"/>
          <ac:spMkLst>
            <pc:docMk/>
            <pc:sldMk cId="3968378464" sldId="10405"/>
            <ac:spMk id="14" creationId="{CD9DF521-4C22-F389-FDC6-A70B2EE6BE4C}"/>
          </ac:spMkLst>
        </pc:spChg>
        <pc:spChg chg="add mod">
          <ac:chgData name="Milena Martinez Valenzuela" userId="be3f4e8d-1043-46cf-ba05-86ea3ca9d6fe" providerId="ADAL" clId="{99D9136B-12E8-468A-9712-3FDC53018C91}" dt="2023-12-11T15:35:17.625" v="1958"/>
          <ac:spMkLst>
            <pc:docMk/>
            <pc:sldMk cId="3968378464" sldId="10405"/>
            <ac:spMk id="15" creationId="{3DB162C4-28E2-6411-AFDB-478E55007243}"/>
          </ac:spMkLst>
        </pc:spChg>
        <pc:spChg chg="mod">
          <ac:chgData name="Milena Martinez Valenzuela" userId="be3f4e8d-1043-46cf-ba05-86ea3ca9d6fe" providerId="ADAL" clId="{99D9136B-12E8-468A-9712-3FDC53018C91}" dt="2023-12-11T15:01:20.538" v="1183" actId="2085"/>
          <ac:spMkLst>
            <pc:docMk/>
            <pc:sldMk cId="3968378464" sldId="10405"/>
            <ac:spMk id="16" creationId="{00000000-0000-0000-0000-000000000000}"/>
          </ac:spMkLst>
        </pc:spChg>
        <pc:spChg chg="add mod">
          <ac:chgData name="Milena Martinez Valenzuela" userId="be3f4e8d-1043-46cf-ba05-86ea3ca9d6fe" providerId="ADAL" clId="{99D9136B-12E8-468A-9712-3FDC53018C91}" dt="2023-12-11T15:35:17.625" v="1958"/>
          <ac:spMkLst>
            <pc:docMk/>
            <pc:sldMk cId="3968378464" sldId="10405"/>
            <ac:spMk id="17" creationId="{263CD156-3D1D-B75C-3200-7D510A0C5EC6}"/>
          </ac:spMkLst>
        </pc:spChg>
        <pc:spChg chg="mod">
          <ac:chgData name="Milena Martinez Valenzuela" userId="be3f4e8d-1043-46cf-ba05-86ea3ca9d6fe" providerId="ADAL" clId="{99D9136B-12E8-468A-9712-3FDC53018C91}" dt="2023-12-11T15:01:17.363" v="1182" actId="1076"/>
          <ac:spMkLst>
            <pc:docMk/>
            <pc:sldMk cId="3968378464" sldId="10405"/>
            <ac:spMk id="24" creationId="{00000000-0000-0000-0000-000000000000}"/>
          </ac:spMkLst>
        </pc:spChg>
        <pc:cxnChg chg="mod">
          <ac:chgData name="Milena Martinez Valenzuela" userId="be3f4e8d-1043-46cf-ba05-86ea3ca9d6fe" providerId="ADAL" clId="{99D9136B-12E8-468A-9712-3FDC53018C91}" dt="2023-12-11T15:01:41.882" v="1193" actId="14100"/>
          <ac:cxnSpMkLst>
            <pc:docMk/>
            <pc:sldMk cId="3968378464" sldId="10405"/>
            <ac:cxnSpMk id="2" creationId="{20F30B8B-24E8-A33E-B29E-FD1B071D61F4}"/>
          </ac:cxnSpMkLst>
        </pc:cxnChg>
        <pc:cxnChg chg="mod">
          <ac:chgData name="Milena Martinez Valenzuela" userId="be3f4e8d-1043-46cf-ba05-86ea3ca9d6fe" providerId="ADAL" clId="{99D9136B-12E8-468A-9712-3FDC53018C91}" dt="2023-12-11T15:01:39.274" v="1192" actId="14100"/>
          <ac:cxnSpMkLst>
            <pc:docMk/>
            <pc:sldMk cId="3968378464" sldId="10405"/>
            <ac:cxnSpMk id="6" creationId="{00000000-0000-0000-0000-000000000000}"/>
          </ac:cxnSpMkLst>
        </pc:cxnChg>
        <pc:cxnChg chg="mod">
          <ac:chgData name="Milena Martinez Valenzuela" userId="be3f4e8d-1043-46cf-ba05-86ea3ca9d6fe" providerId="ADAL" clId="{99D9136B-12E8-468A-9712-3FDC53018C91}" dt="2023-12-11T15:01:34.754" v="1191" actId="14100"/>
          <ac:cxnSpMkLst>
            <pc:docMk/>
            <pc:sldMk cId="3968378464" sldId="10405"/>
            <ac:cxnSpMk id="18" creationId="{00000000-0000-0000-0000-000000000000}"/>
          </ac:cxnSpMkLst>
        </pc:cxnChg>
      </pc:sldChg>
      <pc:sldChg chg="addSp delSp modSp mod">
        <pc:chgData name="Milena Martinez Valenzuela" userId="be3f4e8d-1043-46cf-ba05-86ea3ca9d6fe" providerId="ADAL" clId="{99D9136B-12E8-468A-9712-3FDC53018C91}" dt="2023-12-11T15:33:01.246" v="1898"/>
        <pc:sldMkLst>
          <pc:docMk/>
          <pc:sldMk cId="3884403971" sldId="10407"/>
        </pc:sldMkLst>
        <pc:spChg chg="mod">
          <ac:chgData name="Milena Martinez Valenzuela" userId="be3f4e8d-1043-46cf-ba05-86ea3ca9d6fe" providerId="ADAL" clId="{99D9136B-12E8-468A-9712-3FDC53018C91}" dt="2023-12-11T14:15:58.817" v="122" actId="1036"/>
          <ac:spMkLst>
            <pc:docMk/>
            <pc:sldMk cId="3884403971" sldId="10407"/>
            <ac:spMk id="2" creationId="{79FF9171-4EFA-C7FC-9453-8B12E46DE596}"/>
          </ac:spMkLst>
        </pc:spChg>
        <pc:spChg chg="add mod">
          <ac:chgData name="Milena Martinez Valenzuela" userId="be3f4e8d-1043-46cf-ba05-86ea3ca9d6fe" providerId="ADAL" clId="{99D9136B-12E8-468A-9712-3FDC53018C91}" dt="2023-12-11T15:33:01.246" v="1898"/>
          <ac:spMkLst>
            <pc:docMk/>
            <pc:sldMk cId="3884403971" sldId="10407"/>
            <ac:spMk id="3" creationId="{34B2FE10-327C-360E-68C5-8C541A77B3C8}"/>
          </ac:spMkLst>
        </pc:spChg>
        <pc:spChg chg="add mod">
          <ac:chgData name="Milena Martinez Valenzuela" userId="be3f4e8d-1043-46cf-ba05-86ea3ca9d6fe" providerId="ADAL" clId="{99D9136B-12E8-468A-9712-3FDC53018C91}" dt="2023-12-11T15:33:01.246" v="1898"/>
          <ac:spMkLst>
            <pc:docMk/>
            <pc:sldMk cId="3884403971" sldId="10407"/>
            <ac:spMk id="4" creationId="{8099AEEA-4CDF-C92E-C09C-9373A41383C2}"/>
          </ac:spMkLst>
        </pc:spChg>
        <pc:spChg chg="mod">
          <ac:chgData name="Milena Martinez Valenzuela" userId="be3f4e8d-1043-46cf-ba05-86ea3ca9d6fe" providerId="ADAL" clId="{99D9136B-12E8-468A-9712-3FDC53018C91}" dt="2023-12-11T14:11:06.240" v="57" actId="1076"/>
          <ac:spMkLst>
            <pc:docMk/>
            <pc:sldMk cId="3884403971" sldId="10407"/>
            <ac:spMk id="6" creationId="{EE818432-375A-DD5D-A833-30F9A85A95A4}"/>
          </ac:spMkLst>
        </pc:spChg>
        <pc:spChg chg="del">
          <ac:chgData name="Milena Martinez Valenzuela" userId="be3f4e8d-1043-46cf-ba05-86ea3ca9d6fe" providerId="ADAL" clId="{99D9136B-12E8-468A-9712-3FDC53018C91}" dt="2023-12-11T15:33:00.139" v="1897" actId="478"/>
          <ac:spMkLst>
            <pc:docMk/>
            <pc:sldMk cId="3884403971" sldId="10407"/>
            <ac:spMk id="7" creationId="{3334E831-84D2-462E-A445-F13223E65886}"/>
          </ac:spMkLst>
        </pc:spChg>
        <pc:spChg chg="del">
          <ac:chgData name="Milena Martinez Valenzuela" userId="be3f4e8d-1043-46cf-ba05-86ea3ca9d6fe" providerId="ADAL" clId="{99D9136B-12E8-468A-9712-3FDC53018C91}" dt="2023-12-11T15:33:00.139" v="1897" actId="478"/>
          <ac:spMkLst>
            <pc:docMk/>
            <pc:sldMk cId="3884403971" sldId="10407"/>
            <ac:spMk id="8" creationId="{9C202F89-21EF-4C59-B355-7B561504F373}"/>
          </ac:spMkLst>
        </pc:spChg>
        <pc:graphicFrameChg chg="mod">
          <ac:chgData name="Milena Martinez Valenzuela" userId="be3f4e8d-1043-46cf-ba05-86ea3ca9d6fe" providerId="ADAL" clId="{99D9136B-12E8-468A-9712-3FDC53018C91}" dt="2023-12-11T14:15:25.555" v="105" actId="207"/>
          <ac:graphicFrameMkLst>
            <pc:docMk/>
            <pc:sldMk cId="3884403971" sldId="10407"/>
            <ac:graphicFrameMk id="9" creationId="{D3A428B0-0F7C-436B-AEF4-2EBCC54D8DC9}"/>
          </ac:graphicFrameMkLst>
        </pc:graphicFrameChg>
      </pc:sldChg>
      <pc:sldChg chg="addSp delSp modSp mod">
        <pc:chgData name="Milena Martinez Valenzuela" userId="be3f4e8d-1043-46cf-ba05-86ea3ca9d6fe" providerId="ADAL" clId="{99D9136B-12E8-468A-9712-3FDC53018C91}" dt="2023-12-11T15:33:04.535" v="1900"/>
        <pc:sldMkLst>
          <pc:docMk/>
          <pc:sldMk cId="3511789946" sldId="10408"/>
        </pc:sldMkLst>
        <pc:spChg chg="mod">
          <ac:chgData name="Milena Martinez Valenzuela" userId="be3f4e8d-1043-46cf-ba05-86ea3ca9d6fe" providerId="ADAL" clId="{99D9136B-12E8-468A-9712-3FDC53018C91}" dt="2023-12-11T14:15:52.313" v="115" actId="1076"/>
          <ac:spMkLst>
            <pc:docMk/>
            <pc:sldMk cId="3511789946" sldId="10408"/>
            <ac:spMk id="2" creationId="{79FF9171-4EFA-C7FC-9453-8B12E46DE596}"/>
          </ac:spMkLst>
        </pc:spChg>
        <pc:spChg chg="add mod">
          <ac:chgData name="Milena Martinez Valenzuela" userId="be3f4e8d-1043-46cf-ba05-86ea3ca9d6fe" providerId="ADAL" clId="{99D9136B-12E8-468A-9712-3FDC53018C91}" dt="2023-12-11T15:33:04.535" v="1900"/>
          <ac:spMkLst>
            <pc:docMk/>
            <pc:sldMk cId="3511789946" sldId="10408"/>
            <ac:spMk id="4" creationId="{8044F34B-AB66-594F-EB25-75463311869C}"/>
          </ac:spMkLst>
        </pc:spChg>
        <pc:spChg chg="add mod">
          <ac:chgData name="Milena Martinez Valenzuela" userId="be3f4e8d-1043-46cf-ba05-86ea3ca9d6fe" providerId="ADAL" clId="{99D9136B-12E8-468A-9712-3FDC53018C91}" dt="2023-12-11T15:33:04.535" v="1900"/>
          <ac:spMkLst>
            <pc:docMk/>
            <pc:sldMk cId="3511789946" sldId="10408"/>
            <ac:spMk id="5" creationId="{E86A1851-2E52-4790-BDC8-A1046157348A}"/>
          </ac:spMkLst>
        </pc:spChg>
        <pc:spChg chg="del">
          <ac:chgData name="Milena Martinez Valenzuela" userId="be3f4e8d-1043-46cf-ba05-86ea3ca9d6fe" providerId="ADAL" clId="{99D9136B-12E8-468A-9712-3FDC53018C91}" dt="2023-12-11T15:33:03.701" v="1899" actId="478"/>
          <ac:spMkLst>
            <pc:docMk/>
            <pc:sldMk cId="3511789946" sldId="10408"/>
            <ac:spMk id="7" creationId="{3334E831-84D2-462E-A445-F13223E65886}"/>
          </ac:spMkLst>
        </pc:spChg>
        <pc:spChg chg="del">
          <ac:chgData name="Milena Martinez Valenzuela" userId="be3f4e8d-1043-46cf-ba05-86ea3ca9d6fe" providerId="ADAL" clId="{99D9136B-12E8-468A-9712-3FDC53018C91}" dt="2023-12-11T15:33:03.701" v="1899" actId="478"/>
          <ac:spMkLst>
            <pc:docMk/>
            <pc:sldMk cId="3511789946" sldId="10408"/>
            <ac:spMk id="8" creationId="{9C202F89-21EF-4C59-B355-7B561504F373}"/>
          </ac:spMkLst>
        </pc:spChg>
        <pc:graphicFrameChg chg="mod">
          <ac:chgData name="Milena Martinez Valenzuela" userId="be3f4e8d-1043-46cf-ba05-86ea3ca9d6fe" providerId="ADAL" clId="{99D9136B-12E8-468A-9712-3FDC53018C91}" dt="2023-12-11T14:15:21.390" v="103" actId="207"/>
          <ac:graphicFrameMkLst>
            <pc:docMk/>
            <pc:sldMk cId="3511789946" sldId="10408"/>
            <ac:graphicFrameMk id="6" creationId="{FC785AD7-65D1-4D60-8516-47A1C376F009}"/>
          </ac:graphicFrameMkLst>
        </pc:graphicFrameChg>
        <pc:graphicFrameChg chg="mod">
          <ac:chgData name="Milena Martinez Valenzuela" userId="be3f4e8d-1043-46cf-ba05-86ea3ca9d6fe" providerId="ADAL" clId="{99D9136B-12E8-468A-9712-3FDC53018C91}" dt="2023-12-11T14:15:23.147" v="104" actId="207"/>
          <ac:graphicFrameMkLst>
            <pc:docMk/>
            <pc:sldMk cId="3511789946" sldId="10408"/>
            <ac:graphicFrameMk id="9" creationId="{CF1F52CD-5B96-462F-8322-B88BBD047842}"/>
          </ac:graphicFrameMkLst>
        </pc:graphicFrameChg>
      </pc:sldChg>
      <pc:sldChg chg="addSp delSp modSp mod">
        <pc:chgData name="Milena Martinez Valenzuela" userId="be3f4e8d-1043-46cf-ba05-86ea3ca9d6fe" providerId="ADAL" clId="{99D9136B-12E8-468A-9712-3FDC53018C91}" dt="2023-12-11T15:33:10.727" v="1902"/>
        <pc:sldMkLst>
          <pc:docMk/>
          <pc:sldMk cId="1392927713" sldId="10409"/>
        </pc:sldMkLst>
        <pc:spChg chg="mod">
          <ac:chgData name="Milena Martinez Valenzuela" userId="be3f4e8d-1043-46cf-ba05-86ea3ca9d6fe" providerId="ADAL" clId="{99D9136B-12E8-468A-9712-3FDC53018C91}" dt="2023-12-11T14:15:48.337" v="114" actId="1076"/>
          <ac:spMkLst>
            <pc:docMk/>
            <pc:sldMk cId="1392927713" sldId="10409"/>
            <ac:spMk id="2" creationId="{79FF9171-4EFA-C7FC-9453-8B12E46DE596}"/>
          </ac:spMkLst>
        </pc:spChg>
        <pc:spChg chg="add mod">
          <ac:chgData name="Milena Martinez Valenzuela" userId="be3f4e8d-1043-46cf-ba05-86ea3ca9d6fe" providerId="ADAL" clId="{99D9136B-12E8-468A-9712-3FDC53018C91}" dt="2023-12-11T15:33:10.727" v="1902"/>
          <ac:spMkLst>
            <pc:docMk/>
            <pc:sldMk cId="1392927713" sldId="10409"/>
            <ac:spMk id="3" creationId="{6AC757E0-1695-EFAA-4E74-F2D0164D3B09}"/>
          </ac:spMkLst>
        </pc:spChg>
        <pc:spChg chg="add mod">
          <ac:chgData name="Milena Martinez Valenzuela" userId="be3f4e8d-1043-46cf-ba05-86ea3ca9d6fe" providerId="ADAL" clId="{99D9136B-12E8-468A-9712-3FDC53018C91}" dt="2023-12-11T15:33:10.727" v="1902"/>
          <ac:spMkLst>
            <pc:docMk/>
            <pc:sldMk cId="1392927713" sldId="10409"/>
            <ac:spMk id="6" creationId="{91681979-50C7-DE4F-046F-2F988A87D9D4}"/>
          </ac:spMkLst>
        </pc:spChg>
        <pc:spChg chg="del">
          <ac:chgData name="Milena Martinez Valenzuela" userId="be3f4e8d-1043-46cf-ba05-86ea3ca9d6fe" providerId="ADAL" clId="{99D9136B-12E8-468A-9712-3FDC53018C91}" dt="2023-12-11T15:33:09.708" v="1901" actId="478"/>
          <ac:spMkLst>
            <pc:docMk/>
            <pc:sldMk cId="1392927713" sldId="10409"/>
            <ac:spMk id="7" creationId="{3334E831-84D2-462E-A445-F13223E65886}"/>
          </ac:spMkLst>
        </pc:spChg>
        <pc:spChg chg="del">
          <ac:chgData name="Milena Martinez Valenzuela" userId="be3f4e8d-1043-46cf-ba05-86ea3ca9d6fe" providerId="ADAL" clId="{99D9136B-12E8-468A-9712-3FDC53018C91}" dt="2023-12-11T15:33:09.708" v="1901" actId="478"/>
          <ac:spMkLst>
            <pc:docMk/>
            <pc:sldMk cId="1392927713" sldId="10409"/>
            <ac:spMk id="8" creationId="{9C202F89-21EF-4C59-B355-7B561504F373}"/>
          </ac:spMkLst>
        </pc:spChg>
        <pc:spChg chg="mod">
          <ac:chgData name="Milena Martinez Valenzuela" userId="be3f4e8d-1043-46cf-ba05-86ea3ca9d6fe" providerId="ADAL" clId="{99D9136B-12E8-468A-9712-3FDC53018C91}" dt="2023-12-11T14:15:01.964" v="99" actId="207"/>
          <ac:spMkLst>
            <pc:docMk/>
            <pc:sldMk cId="1392927713" sldId="10409"/>
            <ac:spMk id="11" creationId="{5084C697-B632-A6F0-A9A8-C899053A1FBE}"/>
          </ac:spMkLst>
        </pc:spChg>
        <pc:spChg chg="mod">
          <ac:chgData name="Milena Martinez Valenzuela" userId="be3f4e8d-1043-46cf-ba05-86ea3ca9d6fe" providerId="ADAL" clId="{99D9136B-12E8-468A-9712-3FDC53018C91}" dt="2023-12-11T14:15:08.164" v="102" actId="207"/>
          <ac:spMkLst>
            <pc:docMk/>
            <pc:sldMk cId="1392927713" sldId="10409"/>
            <ac:spMk id="12" creationId="{649EFF4E-58DC-11BA-DE48-44AFA820F5F4}"/>
          </ac:spMkLst>
        </pc:spChg>
        <pc:graphicFrameChg chg="mod">
          <ac:chgData name="Milena Martinez Valenzuela" userId="be3f4e8d-1043-46cf-ba05-86ea3ca9d6fe" providerId="ADAL" clId="{99D9136B-12E8-468A-9712-3FDC53018C91}" dt="2023-12-11T14:14:44.625" v="95" actId="208"/>
          <ac:graphicFrameMkLst>
            <pc:docMk/>
            <pc:sldMk cId="1392927713" sldId="10409"/>
            <ac:graphicFrameMk id="4" creationId="{7F77DE5C-A14C-4116-A796-4A000C6F5C84}"/>
          </ac:graphicFrameMkLst>
        </pc:graphicFrameChg>
        <pc:graphicFrameChg chg="mod">
          <ac:chgData name="Milena Martinez Valenzuela" userId="be3f4e8d-1043-46cf-ba05-86ea3ca9d6fe" providerId="ADAL" clId="{99D9136B-12E8-468A-9712-3FDC53018C91}" dt="2023-12-11T14:14:50.084" v="97" actId="208"/>
          <ac:graphicFrameMkLst>
            <pc:docMk/>
            <pc:sldMk cId="1392927713" sldId="10409"/>
            <ac:graphicFrameMk id="5" creationId="{EF5B72CA-B0B4-8121-4CD4-2F28DFF07FF8}"/>
          </ac:graphicFrameMkLst>
        </pc:graphicFrameChg>
      </pc:sldChg>
      <pc:sldChg chg="addSp delSp modSp mod">
        <pc:chgData name="Milena Martinez Valenzuela" userId="be3f4e8d-1043-46cf-ba05-86ea3ca9d6fe" providerId="ADAL" clId="{99D9136B-12E8-468A-9712-3FDC53018C91}" dt="2023-12-11T15:35:32.965" v="1964"/>
        <pc:sldMkLst>
          <pc:docMk/>
          <pc:sldMk cId="2628919268" sldId="10684"/>
        </pc:sldMkLst>
        <pc:spChg chg="mod">
          <ac:chgData name="Milena Martinez Valenzuela" userId="be3f4e8d-1043-46cf-ba05-86ea3ca9d6fe" providerId="ADAL" clId="{99D9136B-12E8-468A-9712-3FDC53018C91}" dt="2023-12-11T15:11:33.892" v="1310" actId="207"/>
          <ac:spMkLst>
            <pc:docMk/>
            <pc:sldMk cId="2628919268" sldId="10684"/>
            <ac:spMk id="2" creationId="{166AE1B3-A580-482F-9F24-45B1B9245A2F}"/>
          </ac:spMkLst>
        </pc:spChg>
        <pc:spChg chg="add mod">
          <ac:chgData name="Milena Martinez Valenzuela" userId="be3f4e8d-1043-46cf-ba05-86ea3ca9d6fe" providerId="ADAL" clId="{99D9136B-12E8-468A-9712-3FDC53018C91}" dt="2023-12-11T15:35:32.965" v="1964"/>
          <ac:spMkLst>
            <pc:docMk/>
            <pc:sldMk cId="2628919268" sldId="10684"/>
            <ac:spMk id="4" creationId="{046104BF-AB36-C733-0CBB-39F924587F4A}"/>
          </ac:spMkLst>
        </pc:spChg>
        <pc:spChg chg="del">
          <ac:chgData name="Milena Martinez Valenzuela" userId="be3f4e8d-1043-46cf-ba05-86ea3ca9d6fe" providerId="ADAL" clId="{99D9136B-12E8-468A-9712-3FDC53018C91}" dt="2023-12-11T15:35:32.172" v="1963" actId="478"/>
          <ac:spMkLst>
            <pc:docMk/>
            <pc:sldMk cId="2628919268" sldId="10684"/>
            <ac:spMk id="5" creationId="{C75B7C43-8DF4-4FF8-CDAA-78D79794023C}"/>
          </ac:spMkLst>
        </pc:spChg>
        <pc:spChg chg="add mod">
          <ac:chgData name="Milena Martinez Valenzuela" userId="be3f4e8d-1043-46cf-ba05-86ea3ca9d6fe" providerId="ADAL" clId="{99D9136B-12E8-468A-9712-3FDC53018C91}" dt="2023-12-11T15:35:32.965" v="1964"/>
          <ac:spMkLst>
            <pc:docMk/>
            <pc:sldMk cId="2628919268" sldId="10684"/>
            <ac:spMk id="7" creationId="{3194F403-5ED0-63FE-6ED5-A391A9022B73}"/>
          </ac:spMkLst>
        </pc:spChg>
        <pc:graphicFrameChg chg="modGraphic">
          <ac:chgData name="Milena Martinez Valenzuela" userId="be3f4e8d-1043-46cf-ba05-86ea3ca9d6fe" providerId="ADAL" clId="{99D9136B-12E8-468A-9712-3FDC53018C91}" dt="2023-12-11T15:11:37.324" v="1311" actId="207"/>
          <ac:graphicFrameMkLst>
            <pc:docMk/>
            <pc:sldMk cId="2628919268" sldId="10684"/>
            <ac:graphicFrameMk id="3" creationId="{9220FDDA-5187-89D4-426E-54589DFC76B5}"/>
          </ac:graphicFrameMkLst>
        </pc:graphicFrameChg>
      </pc:sldChg>
      <pc:sldChg chg="modSp mod">
        <pc:chgData name="Milena Martinez Valenzuela" userId="be3f4e8d-1043-46cf-ba05-86ea3ca9d6fe" providerId="ADAL" clId="{99D9136B-12E8-468A-9712-3FDC53018C91}" dt="2023-12-11T15:11:29.508" v="1309" actId="207"/>
        <pc:sldMkLst>
          <pc:docMk/>
          <pc:sldMk cId="1057923088" sldId="10698"/>
        </pc:sldMkLst>
        <pc:spChg chg="mod">
          <ac:chgData name="Milena Martinez Valenzuela" userId="be3f4e8d-1043-46cf-ba05-86ea3ca9d6fe" providerId="ADAL" clId="{99D9136B-12E8-468A-9712-3FDC53018C91}" dt="2023-12-11T15:11:29.508" v="1309" actId="207"/>
          <ac:spMkLst>
            <pc:docMk/>
            <pc:sldMk cId="1057923088" sldId="10698"/>
            <ac:spMk id="3" creationId="{9E60C140-6D2F-A5BB-B084-B1EB76F986A2}"/>
          </ac:spMkLst>
        </pc:spChg>
      </pc:sldChg>
      <pc:sldChg chg="modSp mod">
        <pc:chgData name="Milena Martinez Valenzuela" userId="be3f4e8d-1043-46cf-ba05-86ea3ca9d6fe" providerId="ADAL" clId="{99D9136B-12E8-468A-9712-3FDC53018C91}" dt="2023-12-11T14:26:57.005" v="424" actId="14100"/>
        <pc:sldMkLst>
          <pc:docMk/>
          <pc:sldMk cId="2970317368" sldId="10702"/>
        </pc:sldMkLst>
        <pc:spChg chg="mod">
          <ac:chgData name="Milena Martinez Valenzuela" userId="be3f4e8d-1043-46cf-ba05-86ea3ca9d6fe" providerId="ADAL" clId="{99D9136B-12E8-468A-9712-3FDC53018C91}" dt="2023-12-11T14:26:50.009" v="420" actId="1076"/>
          <ac:spMkLst>
            <pc:docMk/>
            <pc:sldMk cId="2970317368" sldId="10702"/>
            <ac:spMk id="4" creationId="{0E4449A5-B4E9-83E2-10EF-FBDD635F14BF}"/>
          </ac:spMkLst>
        </pc:spChg>
        <pc:spChg chg="mod">
          <ac:chgData name="Milena Martinez Valenzuela" userId="be3f4e8d-1043-46cf-ba05-86ea3ca9d6fe" providerId="ADAL" clId="{99D9136B-12E8-468A-9712-3FDC53018C91}" dt="2023-12-11T14:26:37.682" v="417" actId="179"/>
          <ac:spMkLst>
            <pc:docMk/>
            <pc:sldMk cId="2970317368" sldId="10702"/>
            <ac:spMk id="5" creationId="{ECD7BB9F-6946-2007-8319-F9FDD7DC1768}"/>
          </ac:spMkLst>
        </pc:spChg>
        <pc:spChg chg="mod">
          <ac:chgData name="Milena Martinez Valenzuela" userId="be3f4e8d-1043-46cf-ba05-86ea3ca9d6fe" providerId="ADAL" clId="{99D9136B-12E8-468A-9712-3FDC53018C91}" dt="2023-12-11T14:26:50.009" v="420" actId="1076"/>
          <ac:spMkLst>
            <pc:docMk/>
            <pc:sldMk cId="2970317368" sldId="10702"/>
            <ac:spMk id="8" creationId="{B80B0A1A-59C4-2EB1-5DCD-2B35390F2587}"/>
          </ac:spMkLst>
        </pc:spChg>
        <pc:spChg chg="mod">
          <ac:chgData name="Milena Martinez Valenzuela" userId="be3f4e8d-1043-46cf-ba05-86ea3ca9d6fe" providerId="ADAL" clId="{99D9136B-12E8-468A-9712-3FDC53018C91}" dt="2023-12-11T14:26:26.857" v="414" actId="1076"/>
          <ac:spMkLst>
            <pc:docMk/>
            <pc:sldMk cId="2970317368" sldId="10702"/>
            <ac:spMk id="9" creationId="{E46A9798-A933-F8B0-347E-70A2DB7B5DF6}"/>
          </ac:spMkLst>
        </pc:spChg>
        <pc:spChg chg="mod">
          <ac:chgData name="Milena Martinez Valenzuela" userId="be3f4e8d-1043-46cf-ba05-86ea3ca9d6fe" providerId="ADAL" clId="{99D9136B-12E8-468A-9712-3FDC53018C91}" dt="2023-12-11T14:26:50.009" v="420" actId="1076"/>
          <ac:spMkLst>
            <pc:docMk/>
            <pc:sldMk cId="2970317368" sldId="10702"/>
            <ac:spMk id="11" creationId="{0603D118-A588-B9FF-F0C4-E9046F48C6AE}"/>
          </ac:spMkLst>
        </pc:spChg>
        <pc:graphicFrameChg chg="mod">
          <ac:chgData name="Milena Martinez Valenzuela" userId="be3f4e8d-1043-46cf-ba05-86ea3ca9d6fe" providerId="ADAL" clId="{99D9136B-12E8-468A-9712-3FDC53018C91}" dt="2023-12-11T14:26:50.009" v="420" actId="1076"/>
          <ac:graphicFrameMkLst>
            <pc:docMk/>
            <pc:sldMk cId="2970317368" sldId="10702"/>
            <ac:graphicFrameMk id="2" creationId="{2E9A307B-0D5F-36C1-A345-6909A38F7DCB}"/>
          </ac:graphicFrameMkLst>
        </pc:graphicFrameChg>
        <pc:graphicFrameChg chg="mod">
          <ac:chgData name="Milena Martinez Valenzuela" userId="be3f4e8d-1043-46cf-ba05-86ea3ca9d6fe" providerId="ADAL" clId="{99D9136B-12E8-468A-9712-3FDC53018C91}" dt="2023-12-11T14:26:50.009" v="420" actId="1076"/>
          <ac:graphicFrameMkLst>
            <pc:docMk/>
            <pc:sldMk cId="2970317368" sldId="10702"/>
            <ac:graphicFrameMk id="7" creationId="{59577CFC-10F8-DAEC-8F52-C4FA2557A73B}"/>
          </ac:graphicFrameMkLst>
        </pc:graphicFrameChg>
        <pc:graphicFrameChg chg="mod">
          <ac:chgData name="Milena Martinez Valenzuela" userId="be3f4e8d-1043-46cf-ba05-86ea3ca9d6fe" providerId="ADAL" clId="{99D9136B-12E8-468A-9712-3FDC53018C91}" dt="2023-12-11T14:26:57.005" v="424" actId="14100"/>
          <ac:graphicFrameMkLst>
            <pc:docMk/>
            <pc:sldMk cId="2970317368" sldId="10702"/>
            <ac:graphicFrameMk id="10" creationId="{207D62F4-5EAF-30F6-9A48-B1A0A7986D1C}"/>
          </ac:graphicFrameMkLst>
        </pc:graphicFrameChg>
      </pc:sldChg>
      <pc:sldChg chg="modSp mod">
        <pc:chgData name="Milena Martinez Valenzuela" userId="be3f4e8d-1043-46cf-ba05-86ea3ca9d6fe" providerId="ADAL" clId="{99D9136B-12E8-468A-9712-3FDC53018C91}" dt="2023-12-11T15:23:46.385" v="1695" actId="552"/>
        <pc:sldMkLst>
          <pc:docMk/>
          <pc:sldMk cId="949432058" sldId="10703"/>
        </pc:sldMkLst>
        <pc:spChg chg="mod">
          <ac:chgData name="Milena Martinez Valenzuela" userId="be3f4e8d-1043-46cf-ba05-86ea3ca9d6fe" providerId="ADAL" clId="{99D9136B-12E8-468A-9712-3FDC53018C91}" dt="2023-12-11T15:23:20.965" v="1694" actId="207"/>
          <ac:spMkLst>
            <pc:docMk/>
            <pc:sldMk cId="949432058" sldId="10703"/>
            <ac:spMk id="2" creationId="{166AE1B3-A580-482F-9F24-45B1B9245A2F}"/>
          </ac:spMkLst>
        </pc:spChg>
        <pc:graphicFrameChg chg="mod modGraphic">
          <ac:chgData name="Milena Martinez Valenzuela" userId="be3f4e8d-1043-46cf-ba05-86ea3ca9d6fe" providerId="ADAL" clId="{99D9136B-12E8-468A-9712-3FDC53018C91}" dt="2023-12-11T15:23:15.567" v="1692" actId="1035"/>
          <ac:graphicFrameMkLst>
            <pc:docMk/>
            <pc:sldMk cId="949432058" sldId="10703"/>
            <ac:graphicFrameMk id="3" creationId="{9220FDDA-5187-89D4-426E-54589DFC76B5}"/>
          </ac:graphicFrameMkLst>
        </pc:graphicFrameChg>
        <pc:picChg chg="mod">
          <ac:chgData name="Milena Martinez Valenzuela" userId="be3f4e8d-1043-46cf-ba05-86ea3ca9d6fe" providerId="ADAL" clId="{99D9136B-12E8-468A-9712-3FDC53018C91}" dt="2023-12-11T15:23:46.385" v="1695" actId="552"/>
          <ac:picMkLst>
            <pc:docMk/>
            <pc:sldMk cId="949432058" sldId="10703"/>
            <ac:picMk id="4" creationId="{26834264-3B3D-025C-F4CC-597CB69A94FE}"/>
          </ac:picMkLst>
        </pc:picChg>
        <pc:picChg chg="mod">
          <ac:chgData name="Milena Martinez Valenzuela" userId="be3f4e8d-1043-46cf-ba05-86ea3ca9d6fe" providerId="ADAL" clId="{99D9136B-12E8-468A-9712-3FDC53018C91}" dt="2023-12-11T15:23:15.567" v="1692" actId="1035"/>
          <ac:picMkLst>
            <pc:docMk/>
            <pc:sldMk cId="949432058" sldId="10703"/>
            <ac:picMk id="7" creationId="{EE1F0CE9-9BD6-4A0E-B837-EAC3E6FBC86A}"/>
          </ac:picMkLst>
        </pc:picChg>
        <pc:picChg chg="mod">
          <ac:chgData name="Milena Martinez Valenzuela" userId="be3f4e8d-1043-46cf-ba05-86ea3ca9d6fe" providerId="ADAL" clId="{99D9136B-12E8-468A-9712-3FDC53018C91}" dt="2023-12-11T15:23:46.385" v="1695" actId="552"/>
          <ac:picMkLst>
            <pc:docMk/>
            <pc:sldMk cId="949432058" sldId="10703"/>
            <ac:picMk id="8" creationId="{A2E8BF18-D5C0-2B34-C7B4-9B12A9CB022C}"/>
          </ac:picMkLst>
        </pc:picChg>
        <pc:picChg chg="mod">
          <ac:chgData name="Milena Martinez Valenzuela" userId="be3f4e8d-1043-46cf-ba05-86ea3ca9d6fe" providerId="ADAL" clId="{99D9136B-12E8-468A-9712-3FDC53018C91}" dt="2023-12-11T15:23:46.385" v="1695" actId="552"/>
          <ac:picMkLst>
            <pc:docMk/>
            <pc:sldMk cId="949432058" sldId="10703"/>
            <ac:picMk id="26" creationId="{E0A5C576-FD49-CB18-63D9-45C93AACFF74}"/>
          </ac:picMkLst>
        </pc:picChg>
        <pc:picChg chg="mod">
          <ac:chgData name="Milena Martinez Valenzuela" userId="be3f4e8d-1043-46cf-ba05-86ea3ca9d6fe" providerId="ADAL" clId="{99D9136B-12E8-468A-9712-3FDC53018C91}" dt="2023-12-11T15:23:46.385" v="1695" actId="552"/>
          <ac:picMkLst>
            <pc:docMk/>
            <pc:sldMk cId="949432058" sldId="10703"/>
            <ac:picMk id="27" creationId="{6C268E0B-DCC0-DF50-1DB1-D7806FE1CFC4}"/>
          </ac:picMkLst>
        </pc:picChg>
        <pc:picChg chg="mod">
          <ac:chgData name="Milena Martinez Valenzuela" userId="be3f4e8d-1043-46cf-ba05-86ea3ca9d6fe" providerId="ADAL" clId="{99D9136B-12E8-468A-9712-3FDC53018C91}" dt="2023-12-11T15:23:46.385" v="1695" actId="552"/>
          <ac:picMkLst>
            <pc:docMk/>
            <pc:sldMk cId="949432058" sldId="10703"/>
            <ac:picMk id="28" creationId="{828A58F4-3151-F364-004C-8380B0CE5C2F}"/>
          </ac:picMkLst>
        </pc:picChg>
        <pc:picChg chg="mod">
          <ac:chgData name="Milena Martinez Valenzuela" userId="be3f4e8d-1043-46cf-ba05-86ea3ca9d6fe" providerId="ADAL" clId="{99D9136B-12E8-468A-9712-3FDC53018C91}" dt="2023-12-11T15:23:46.385" v="1695" actId="552"/>
          <ac:picMkLst>
            <pc:docMk/>
            <pc:sldMk cId="949432058" sldId="10703"/>
            <ac:picMk id="29" creationId="{11FBF7D3-FD7E-5ACC-58F1-5E77F4E82E93}"/>
          </ac:picMkLst>
        </pc:picChg>
        <pc:picChg chg="mod">
          <ac:chgData name="Milena Martinez Valenzuela" userId="be3f4e8d-1043-46cf-ba05-86ea3ca9d6fe" providerId="ADAL" clId="{99D9136B-12E8-468A-9712-3FDC53018C91}" dt="2023-12-11T15:23:15.567" v="1692" actId="1035"/>
          <ac:picMkLst>
            <pc:docMk/>
            <pc:sldMk cId="949432058" sldId="10703"/>
            <ac:picMk id="31" creationId="{D6D87562-786A-E383-96D5-9472A48857A6}"/>
          </ac:picMkLst>
        </pc:picChg>
        <pc:picChg chg="mod">
          <ac:chgData name="Milena Martinez Valenzuela" userId="be3f4e8d-1043-46cf-ba05-86ea3ca9d6fe" providerId="ADAL" clId="{99D9136B-12E8-468A-9712-3FDC53018C91}" dt="2023-12-11T15:23:46.385" v="1695" actId="552"/>
          <ac:picMkLst>
            <pc:docMk/>
            <pc:sldMk cId="949432058" sldId="10703"/>
            <ac:picMk id="32" creationId="{CC189543-7F87-4A49-087C-F093AFD94D3A}"/>
          </ac:picMkLst>
        </pc:picChg>
        <pc:picChg chg="mod">
          <ac:chgData name="Milena Martinez Valenzuela" userId="be3f4e8d-1043-46cf-ba05-86ea3ca9d6fe" providerId="ADAL" clId="{99D9136B-12E8-468A-9712-3FDC53018C91}" dt="2023-12-11T15:23:15.567" v="1692" actId="1035"/>
          <ac:picMkLst>
            <pc:docMk/>
            <pc:sldMk cId="949432058" sldId="10703"/>
            <ac:picMk id="42" creationId="{F9973B08-69C5-5BDB-F5B0-568D935A9432}"/>
          </ac:picMkLst>
        </pc:picChg>
        <pc:picChg chg="mod">
          <ac:chgData name="Milena Martinez Valenzuela" userId="be3f4e8d-1043-46cf-ba05-86ea3ca9d6fe" providerId="ADAL" clId="{99D9136B-12E8-468A-9712-3FDC53018C91}" dt="2023-12-11T15:23:15.567" v="1692" actId="1035"/>
          <ac:picMkLst>
            <pc:docMk/>
            <pc:sldMk cId="949432058" sldId="10703"/>
            <ac:picMk id="43" creationId="{8D0DAB05-7A6A-027D-FB02-6AE4AFA728F4}"/>
          </ac:picMkLst>
        </pc:picChg>
        <pc:picChg chg="mod">
          <ac:chgData name="Milena Martinez Valenzuela" userId="be3f4e8d-1043-46cf-ba05-86ea3ca9d6fe" providerId="ADAL" clId="{99D9136B-12E8-468A-9712-3FDC53018C91}" dt="2023-12-11T15:23:46.385" v="1695" actId="552"/>
          <ac:picMkLst>
            <pc:docMk/>
            <pc:sldMk cId="949432058" sldId="10703"/>
            <ac:picMk id="49" creationId="{D7152900-810D-EF97-1F8F-7F6FFC42113C}"/>
          </ac:picMkLst>
        </pc:picChg>
        <pc:picChg chg="mod">
          <ac:chgData name="Milena Martinez Valenzuela" userId="be3f4e8d-1043-46cf-ba05-86ea3ca9d6fe" providerId="ADAL" clId="{99D9136B-12E8-468A-9712-3FDC53018C91}" dt="2023-12-11T15:23:15.567" v="1692" actId="1035"/>
          <ac:picMkLst>
            <pc:docMk/>
            <pc:sldMk cId="949432058" sldId="10703"/>
            <ac:picMk id="51" creationId="{2A9971DB-7D80-9BF5-9BDE-8ED707E5B180}"/>
          </ac:picMkLst>
        </pc:picChg>
      </pc:sldChg>
      <pc:sldChg chg="modSp mod">
        <pc:chgData name="Milena Martinez Valenzuela" userId="be3f4e8d-1043-46cf-ba05-86ea3ca9d6fe" providerId="ADAL" clId="{99D9136B-12E8-468A-9712-3FDC53018C91}" dt="2023-12-11T15:32:28.924" v="1894" actId="14100"/>
        <pc:sldMkLst>
          <pc:docMk/>
          <pc:sldMk cId="4163247597" sldId="10706"/>
        </pc:sldMkLst>
        <pc:spChg chg="mod">
          <ac:chgData name="Milena Martinez Valenzuela" userId="be3f4e8d-1043-46cf-ba05-86ea3ca9d6fe" providerId="ADAL" clId="{99D9136B-12E8-468A-9712-3FDC53018C91}" dt="2023-12-11T15:32:28.924" v="1894" actId="14100"/>
          <ac:spMkLst>
            <pc:docMk/>
            <pc:sldMk cId="4163247597" sldId="10706"/>
            <ac:spMk id="2" creationId="{166AE1B3-A580-482F-9F24-45B1B9245A2F}"/>
          </ac:spMkLst>
        </pc:spChg>
        <pc:graphicFrameChg chg="mod modGraphic">
          <ac:chgData name="Milena Martinez Valenzuela" userId="be3f4e8d-1043-46cf-ba05-86ea3ca9d6fe" providerId="ADAL" clId="{99D9136B-12E8-468A-9712-3FDC53018C91}" dt="2023-12-11T15:25:15.548" v="1714" actId="20577"/>
          <ac:graphicFrameMkLst>
            <pc:docMk/>
            <pc:sldMk cId="4163247597" sldId="10706"/>
            <ac:graphicFrameMk id="3" creationId="{9220FDDA-5187-89D4-426E-54589DFC76B5}"/>
          </ac:graphicFrameMkLst>
        </pc:graphicFrameChg>
        <pc:picChg chg="mod">
          <ac:chgData name="Milena Martinez Valenzuela" userId="be3f4e8d-1043-46cf-ba05-86ea3ca9d6fe" providerId="ADAL" clId="{99D9136B-12E8-468A-9712-3FDC53018C91}" dt="2023-12-11T15:24:31.428" v="1702" actId="1076"/>
          <ac:picMkLst>
            <pc:docMk/>
            <pc:sldMk cId="4163247597" sldId="10706"/>
            <ac:picMk id="26" creationId="{E0A5C576-FD49-CB18-63D9-45C93AACFF74}"/>
          </ac:picMkLst>
        </pc:picChg>
        <pc:picChg chg="mod">
          <ac:chgData name="Milena Martinez Valenzuela" userId="be3f4e8d-1043-46cf-ba05-86ea3ca9d6fe" providerId="ADAL" clId="{99D9136B-12E8-468A-9712-3FDC53018C91}" dt="2023-12-11T15:24:33.579" v="1703" actId="1076"/>
          <ac:picMkLst>
            <pc:docMk/>
            <pc:sldMk cId="4163247597" sldId="10706"/>
            <ac:picMk id="27" creationId="{6C268E0B-DCC0-DF50-1DB1-D7806FE1CFC4}"/>
          </ac:picMkLst>
        </pc:picChg>
      </pc:sldChg>
      <pc:sldChg chg="modSp mod">
        <pc:chgData name="Milena Martinez Valenzuela" userId="be3f4e8d-1043-46cf-ba05-86ea3ca9d6fe" providerId="ADAL" clId="{99D9136B-12E8-468A-9712-3FDC53018C91}" dt="2023-12-11T15:29:58.436" v="1794" actId="14734"/>
        <pc:sldMkLst>
          <pc:docMk/>
          <pc:sldMk cId="1732279782" sldId="10707"/>
        </pc:sldMkLst>
        <pc:spChg chg="mod">
          <ac:chgData name="Milena Martinez Valenzuela" userId="be3f4e8d-1043-46cf-ba05-86ea3ca9d6fe" providerId="ADAL" clId="{99D9136B-12E8-468A-9712-3FDC53018C91}" dt="2023-12-11T15:27:47.173" v="1769" actId="207"/>
          <ac:spMkLst>
            <pc:docMk/>
            <pc:sldMk cId="1732279782" sldId="10707"/>
            <ac:spMk id="2" creationId="{166AE1B3-A580-482F-9F24-45B1B9245A2F}"/>
          </ac:spMkLst>
        </pc:spChg>
        <pc:graphicFrameChg chg="mod modGraphic">
          <ac:chgData name="Milena Martinez Valenzuela" userId="be3f4e8d-1043-46cf-ba05-86ea3ca9d6fe" providerId="ADAL" clId="{99D9136B-12E8-468A-9712-3FDC53018C91}" dt="2023-12-11T15:29:58.436" v="1794" actId="14734"/>
          <ac:graphicFrameMkLst>
            <pc:docMk/>
            <pc:sldMk cId="1732279782" sldId="10707"/>
            <ac:graphicFrameMk id="3" creationId="{9220FDDA-5187-89D4-426E-54589DFC76B5}"/>
          </ac:graphicFrameMkLst>
        </pc:graphicFrameChg>
        <pc:picChg chg="mod">
          <ac:chgData name="Milena Martinez Valenzuela" userId="be3f4e8d-1043-46cf-ba05-86ea3ca9d6fe" providerId="ADAL" clId="{99D9136B-12E8-468A-9712-3FDC53018C91}" dt="2023-12-11T15:27:40.087" v="1767" actId="553"/>
          <ac:picMkLst>
            <pc:docMk/>
            <pc:sldMk cId="1732279782" sldId="10707"/>
            <ac:picMk id="4" creationId="{E8B2F2E2-6355-F909-297E-1338CDCFC636}"/>
          </ac:picMkLst>
        </pc:picChg>
        <pc:picChg chg="mod">
          <ac:chgData name="Milena Martinez Valenzuela" userId="be3f4e8d-1043-46cf-ba05-86ea3ca9d6fe" providerId="ADAL" clId="{99D9136B-12E8-468A-9712-3FDC53018C91}" dt="2023-12-11T15:27:40.087" v="1767" actId="553"/>
          <ac:picMkLst>
            <pc:docMk/>
            <pc:sldMk cId="1732279782" sldId="10707"/>
            <ac:picMk id="26" creationId="{E0A5C576-FD49-CB18-63D9-45C93AACFF74}"/>
          </ac:picMkLst>
        </pc:picChg>
        <pc:picChg chg="mod">
          <ac:chgData name="Milena Martinez Valenzuela" userId="be3f4e8d-1043-46cf-ba05-86ea3ca9d6fe" providerId="ADAL" clId="{99D9136B-12E8-468A-9712-3FDC53018C91}" dt="2023-12-11T15:27:40.087" v="1767" actId="553"/>
          <ac:picMkLst>
            <pc:docMk/>
            <pc:sldMk cId="1732279782" sldId="10707"/>
            <ac:picMk id="27" creationId="{6C268E0B-DCC0-DF50-1DB1-D7806FE1CFC4}"/>
          </ac:picMkLst>
        </pc:picChg>
        <pc:picChg chg="mod">
          <ac:chgData name="Milena Martinez Valenzuela" userId="be3f4e8d-1043-46cf-ba05-86ea3ca9d6fe" providerId="ADAL" clId="{99D9136B-12E8-468A-9712-3FDC53018C91}" dt="2023-12-11T15:27:40.087" v="1767" actId="553"/>
          <ac:picMkLst>
            <pc:docMk/>
            <pc:sldMk cId="1732279782" sldId="10707"/>
            <ac:picMk id="28" creationId="{828A58F4-3151-F364-004C-8380B0CE5C2F}"/>
          </ac:picMkLst>
        </pc:picChg>
      </pc:sldChg>
      <pc:sldChg chg="modSp mod">
        <pc:chgData name="Milena Martinez Valenzuela" userId="be3f4e8d-1043-46cf-ba05-86ea3ca9d6fe" providerId="ADAL" clId="{99D9136B-12E8-468A-9712-3FDC53018C91}" dt="2023-12-11T15:32:13.788" v="1891" actId="14100"/>
        <pc:sldMkLst>
          <pc:docMk/>
          <pc:sldMk cId="1853367435" sldId="10708"/>
        </pc:sldMkLst>
        <pc:spChg chg="mod">
          <ac:chgData name="Milena Martinez Valenzuela" userId="be3f4e8d-1043-46cf-ba05-86ea3ca9d6fe" providerId="ADAL" clId="{99D9136B-12E8-468A-9712-3FDC53018C91}" dt="2023-12-11T15:32:13.788" v="1891" actId="14100"/>
          <ac:spMkLst>
            <pc:docMk/>
            <pc:sldMk cId="1853367435" sldId="10708"/>
            <ac:spMk id="2" creationId="{166AE1B3-A580-482F-9F24-45B1B9245A2F}"/>
          </ac:spMkLst>
        </pc:spChg>
        <pc:graphicFrameChg chg="mod modGraphic">
          <ac:chgData name="Milena Martinez Valenzuela" userId="be3f4e8d-1043-46cf-ba05-86ea3ca9d6fe" providerId="ADAL" clId="{99D9136B-12E8-468A-9712-3FDC53018C91}" dt="2023-12-11T15:26:41.668" v="1745" actId="1076"/>
          <ac:graphicFrameMkLst>
            <pc:docMk/>
            <pc:sldMk cId="1853367435" sldId="10708"/>
            <ac:graphicFrameMk id="3" creationId="{9220FDDA-5187-89D4-426E-54589DFC76B5}"/>
          </ac:graphicFrameMkLst>
        </pc:graphicFrameChg>
        <pc:picChg chg="mod">
          <ac:chgData name="Milena Martinez Valenzuela" userId="be3f4e8d-1043-46cf-ba05-86ea3ca9d6fe" providerId="ADAL" clId="{99D9136B-12E8-468A-9712-3FDC53018C91}" dt="2023-12-11T15:26:41.668" v="1745" actId="1076"/>
          <ac:picMkLst>
            <pc:docMk/>
            <pc:sldMk cId="1853367435" sldId="10708"/>
            <ac:picMk id="4" creationId="{A9F7DAA2-56CF-3116-1307-8FA14F1C7EF6}"/>
          </ac:picMkLst>
        </pc:picChg>
        <pc:picChg chg="mod">
          <ac:chgData name="Milena Martinez Valenzuela" userId="be3f4e8d-1043-46cf-ba05-86ea3ca9d6fe" providerId="ADAL" clId="{99D9136B-12E8-468A-9712-3FDC53018C91}" dt="2023-12-11T15:26:41.668" v="1745" actId="1076"/>
          <ac:picMkLst>
            <pc:docMk/>
            <pc:sldMk cId="1853367435" sldId="10708"/>
            <ac:picMk id="26" creationId="{E0A5C576-FD49-CB18-63D9-45C93AACFF74}"/>
          </ac:picMkLst>
        </pc:picChg>
        <pc:picChg chg="mod">
          <ac:chgData name="Milena Martinez Valenzuela" userId="be3f4e8d-1043-46cf-ba05-86ea3ca9d6fe" providerId="ADAL" clId="{99D9136B-12E8-468A-9712-3FDC53018C91}" dt="2023-12-11T15:26:41.668" v="1745" actId="1076"/>
          <ac:picMkLst>
            <pc:docMk/>
            <pc:sldMk cId="1853367435" sldId="10708"/>
            <ac:picMk id="27" creationId="{6C268E0B-DCC0-DF50-1DB1-D7806FE1CFC4}"/>
          </ac:picMkLst>
        </pc:picChg>
        <pc:picChg chg="mod">
          <ac:chgData name="Milena Martinez Valenzuela" userId="be3f4e8d-1043-46cf-ba05-86ea3ca9d6fe" providerId="ADAL" clId="{99D9136B-12E8-468A-9712-3FDC53018C91}" dt="2023-12-11T15:26:41.668" v="1745" actId="1076"/>
          <ac:picMkLst>
            <pc:docMk/>
            <pc:sldMk cId="1853367435" sldId="10708"/>
            <ac:picMk id="28" creationId="{828A58F4-3151-F364-004C-8380B0CE5C2F}"/>
          </ac:picMkLst>
        </pc:picChg>
        <pc:picChg chg="mod">
          <ac:chgData name="Milena Martinez Valenzuela" userId="be3f4e8d-1043-46cf-ba05-86ea3ca9d6fe" providerId="ADAL" clId="{99D9136B-12E8-468A-9712-3FDC53018C91}" dt="2023-12-11T15:26:41.668" v="1745" actId="1076"/>
          <ac:picMkLst>
            <pc:docMk/>
            <pc:sldMk cId="1853367435" sldId="10708"/>
            <ac:picMk id="29" creationId="{11FBF7D3-FD7E-5ACC-58F1-5E77F4E82E93}"/>
          </ac:picMkLst>
        </pc:picChg>
      </pc:sldChg>
      <pc:sldChg chg="modSp mod">
        <pc:chgData name="Milena Martinez Valenzuela" userId="be3f4e8d-1043-46cf-ba05-86ea3ca9d6fe" providerId="ADAL" clId="{99D9136B-12E8-468A-9712-3FDC53018C91}" dt="2023-12-11T15:32:19.148" v="1892" actId="1037"/>
        <pc:sldMkLst>
          <pc:docMk/>
          <pc:sldMk cId="2764149934" sldId="10709"/>
        </pc:sldMkLst>
        <pc:spChg chg="mod">
          <ac:chgData name="Milena Martinez Valenzuela" userId="be3f4e8d-1043-46cf-ba05-86ea3ca9d6fe" providerId="ADAL" clId="{99D9136B-12E8-468A-9712-3FDC53018C91}" dt="2023-12-11T15:32:19.148" v="1892" actId="1037"/>
          <ac:spMkLst>
            <pc:docMk/>
            <pc:sldMk cId="2764149934" sldId="10709"/>
            <ac:spMk id="2" creationId="{166AE1B3-A580-482F-9F24-45B1B9245A2F}"/>
          </ac:spMkLst>
        </pc:spChg>
        <pc:graphicFrameChg chg="mod modGraphic">
          <ac:chgData name="Milena Martinez Valenzuela" userId="be3f4e8d-1043-46cf-ba05-86ea3ca9d6fe" providerId="ADAL" clId="{99D9136B-12E8-468A-9712-3FDC53018C91}" dt="2023-12-11T15:29:52.091" v="1793" actId="1036"/>
          <ac:graphicFrameMkLst>
            <pc:docMk/>
            <pc:sldMk cId="2764149934" sldId="10709"/>
            <ac:graphicFrameMk id="3" creationId="{9220FDDA-5187-89D4-426E-54589DFC76B5}"/>
          </ac:graphicFrameMkLst>
        </pc:graphicFrameChg>
        <pc:picChg chg="mod">
          <ac:chgData name="Milena Martinez Valenzuela" userId="be3f4e8d-1043-46cf-ba05-86ea3ca9d6fe" providerId="ADAL" clId="{99D9136B-12E8-468A-9712-3FDC53018C91}" dt="2023-12-11T15:29:34.118" v="1789" actId="553"/>
          <ac:picMkLst>
            <pc:docMk/>
            <pc:sldMk cId="2764149934" sldId="10709"/>
            <ac:picMk id="4" creationId="{523F35B7-2B7C-0A30-1592-969496D4F3DC}"/>
          </ac:picMkLst>
        </pc:picChg>
        <pc:picChg chg="mod">
          <ac:chgData name="Milena Martinez Valenzuela" userId="be3f4e8d-1043-46cf-ba05-86ea3ca9d6fe" providerId="ADAL" clId="{99D9136B-12E8-468A-9712-3FDC53018C91}" dt="2023-12-11T15:29:34.118" v="1789" actId="553"/>
          <ac:picMkLst>
            <pc:docMk/>
            <pc:sldMk cId="2764149934" sldId="10709"/>
            <ac:picMk id="7" creationId="{7BD6ABFB-9F69-52F3-43FD-B518C78015CE}"/>
          </ac:picMkLst>
        </pc:picChg>
        <pc:picChg chg="mod">
          <ac:chgData name="Milena Martinez Valenzuela" userId="be3f4e8d-1043-46cf-ba05-86ea3ca9d6fe" providerId="ADAL" clId="{99D9136B-12E8-468A-9712-3FDC53018C91}" dt="2023-12-11T15:29:34.118" v="1789" actId="553"/>
          <ac:picMkLst>
            <pc:docMk/>
            <pc:sldMk cId="2764149934" sldId="10709"/>
            <ac:picMk id="26" creationId="{E0A5C576-FD49-CB18-63D9-45C93AACFF74}"/>
          </ac:picMkLst>
        </pc:picChg>
        <pc:picChg chg="mod">
          <ac:chgData name="Milena Martinez Valenzuela" userId="be3f4e8d-1043-46cf-ba05-86ea3ca9d6fe" providerId="ADAL" clId="{99D9136B-12E8-468A-9712-3FDC53018C91}" dt="2023-12-11T15:29:34.118" v="1789" actId="553"/>
          <ac:picMkLst>
            <pc:docMk/>
            <pc:sldMk cId="2764149934" sldId="10709"/>
            <ac:picMk id="27" creationId="{6C268E0B-DCC0-DF50-1DB1-D7806FE1CFC4}"/>
          </ac:picMkLst>
        </pc:picChg>
      </pc:sldChg>
      <pc:sldChg chg="modSp mod">
        <pc:chgData name="Milena Martinez Valenzuela" userId="be3f4e8d-1043-46cf-ba05-86ea3ca9d6fe" providerId="ADAL" clId="{99D9136B-12E8-468A-9712-3FDC53018C91}" dt="2023-12-11T15:32:04.029" v="1889" actId="1038"/>
        <pc:sldMkLst>
          <pc:docMk/>
          <pc:sldMk cId="3532365010" sldId="10711"/>
        </pc:sldMkLst>
        <pc:spChg chg="mod">
          <ac:chgData name="Milena Martinez Valenzuela" userId="be3f4e8d-1043-46cf-ba05-86ea3ca9d6fe" providerId="ADAL" clId="{99D9136B-12E8-468A-9712-3FDC53018C91}" dt="2023-12-11T15:30:07.708" v="1796" actId="1076"/>
          <ac:spMkLst>
            <pc:docMk/>
            <pc:sldMk cId="3532365010" sldId="10711"/>
            <ac:spMk id="2" creationId="{166AE1B3-A580-482F-9F24-45B1B9245A2F}"/>
          </ac:spMkLst>
        </pc:spChg>
        <pc:graphicFrameChg chg="mod modGraphic">
          <ac:chgData name="Milena Martinez Valenzuela" userId="be3f4e8d-1043-46cf-ba05-86ea3ca9d6fe" providerId="ADAL" clId="{99D9136B-12E8-468A-9712-3FDC53018C91}" dt="2023-12-11T15:31:52.709" v="1827" actId="255"/>
          <ac:graphicFrameMkLst>
            <pc:docMk/>
            <pc:sldMk cId="3532365010" sldId="10711"/>
            <ac:graphicFrameMk id="3" creationId="{9220FDDA-5187-89D4-426E-54589DFC76B5}"/>
          </ac:graphicFrameMkLst>
        </pc:graphicFrameChg>
        <pc:picChg chg="mod">
          <ac:chgData name="Milena Martinez Valenzuela" userId="be3f4e8d-1043-46cf-ba05-86ea3ca9d6fe" providerId="ADAL" clId="{99D9136B-12E8-468A-9712-3FDC53018C91}" dt="2023-12-11T15:32:04.029" v="1889" actId="1038"/>
          <ac:picMkLst>
            <pc:docMk/>
            <pc:sldMk cId="3532365010" sldId="10711"/>
            <ac:picMk id="4" creationId="{8A6900A6-3417-BF6A-324F-032DD9958C08}"/>
          </ac:picMkLst>
        </pc:picChg>
        <pc:picChg chg="mod">
          <ac:chgData name="Milena Martinez Valenzuela" userId="be3f4e8d-1043-46cf-ba05-86ea3ca9d6fe" providerId="ADAL" clId="{99D9136B-12E8-468A-9712-3FDC53018C91}" dt="2023-12-11T15:32:04.029" v="1889" actId="1038"/>
          <ac:picMkLst>
            <pc:docMk/>
            <pc:sldMk cId="3532365010" sldId="10711"/>
            <ac:picMk id="8" creationId="{F67A9D7F-44FF-4DA9-F05A-78F3608E4F56}"/>
          </ac:picMkLst>
        </pc:picChg>
        <pc:picChg chg="mod">
          <ac:chgData name="Milena Martinez Valenzuela" userId="be3f4e8d-1043-46cf-ba05-86ea3ca9d6fe" providerId="ADAL" clId="{99D9136B-12E8-468A-9712-3FDC53018C91}" dt="2023-12-11T15:32:04.029" v="1889" actId="1038"/>
          <ac:picMkLst>
            <pc:docMk/>
            <pc:sldMk cId="3532365010" sldId="10711"/>
            <ac:picMk id="9" creationId="{D4C7B4E5-6682-67BC-2348-DC93D1D79FCB}"/>
          </ac:picMkLst>
        </pc:picChg>
        <pc:picChg chg="mod">
          <ac:chgData name="Milena Martinez Valenzuela" userId="be3f4e8d-1043-46cf-ba05-86ea3ca9d6fe" providerId="ADAL" clId="{99D9136B-12E8-468A-9712-3FDC53018C91}" dt="2023-12-11T15:32:04.029" v="1889" actId="1038"/>
          <ac:picMkLst>
            <pc:docMk/>
            <pc:sldMk cId="3532365010" sldId="10711"/>
            <ac:picMk id="10" creationId="{503C213A-7A16-BB0D-B73F-FB89F91825DB}"/>
          </ac:picMkLst>
        </pc:picChg>
        <pc:picChg chg="mod">
          <ac:chgData name="Milena Martinez Valenzuela" userId="be3f4e8d-1043-46cf-ba05-86ea3ca9d6fe" providerId="ADAL" clId="{99D9136B-12E8-468A-9712-3FDC53018C91}" dt="2023-12-11T15:32:04.029" v="1889" actId="1038"/>
          <ac:picMkLst>
            <pc:docMk/>
            <pc:sldMk cId="3532365010" sldId="10711"/>
            <ac:picMk id="27" creationId="{6C268E0B-DCC0-DF50-1DB1-D7806FE1CFC4}"/>
          </ac:picMkLst>
        </pc:picChg>
      </pc:sldChg>
      <pc:sldChg chg="modSp mod">
        <pc:chgData name="Milena Martinez Valenzuela" userId="be3f4e8d-1043-46cf-ba05-86ea3ca9d6fe" providerId="ADAL" clId="{99D9136B-12E8-468A-9712-3FDC53018C91}" dt="2023-12-11T15:31:37.276" v="1825" actId="1076"/>
        <pc:sldMkLst>
          <pc:docMk/>
          <pc:sldMk cId="2653088693" sldId="10714"/>
        </pc:sldMkLst>
        <pc:spChg chg="mod">
          <ac:chgData name="Milena Martinez Valenzuela" userId="be3f4e8d-1043-46cf-ba05-86ea3ca9d6fe" providerId="ADAL" clId="{99D9136B-12E8-468A-9712-3FDC53018C91}" dt="2023-12-11T15:31:13.883" v="1818" actId="1076"/>
          <ac:spMkLst>
            <pc:docMk/>
            <pc:sldMk cId="2653088693" sldId="10714"/>
            <ac:spMk id="2" creationId="{166AE1B3-A580-482F-9F24-45B1B9245A2F}"/>
          </ac:spMkLst>
        </pc:spChg>
        <pc:graphicFrameChg chg="mod modGraphic">
          <ac:chgData name="Milena Martinez Valenzuela" userId="be3f4e8d-1043-46cf-ba05-86ea3ca9d6fe" providerId="ADAL" clId="{99D9136B-12E8-468A-9712-3FDC53018C91}" dt="2023-12-11T15:31:33.511" v="1824" actId="242"/>
          <ac:graphicFrameMkLst>
            <pc:docMk/>
            <pc:sldMk cId="2653088693" sldId="10714"/>
            <ac:graphicFrameMk id="3" creationId="{9220FDDA-5187-89D4-426E-54589DFC76B5}"/>
          </ac:graphicFrameMkLst>
        </pc:graphicFrameChg>
        <pc:picChg chg="mod">
          <ac:chgData name="Milena Martinez Valenzuela" userId="be3f4e8d-1043-46cf-ba05-86ea3ca9d6fe" providerId="ADAL" clId="{99D9136B-12E8-468A-9712-3FDC53018C91}" dt="2023-12-11T15:31:37.276" v="1825" actId="1076"/>
          <ac:picMkLst>
            <pc:docMk/>
            <pc:sldMk cId="2653088693" sldId="10714"/>
            <ac:picMk id="26" creationId="{E0A5C576-FD49-CB18-63D9-45C93AACFF74}"/>
          </ac:picMkLst>
        </pc:picChg>
      </pc:sldChg>
      <pc:sldChg chg="modSp mod">
        <pc:chgData name="Milena Martinez Valenzuela" userId="be3f4e8d-1043-46cf-ba05-86ea3ca9d6fe" providerId="ADAL" clId="{99D9136B-12E8-468A-9712-3FDC53018C91}" dt="2023-12-11T15:14:52.011" v="1561" actId="1036"/>
        <pc:sldMkLst>
          <pc:docMk/>
          <pc:sldMk cId="2917938081" sldId="10724"/>
        </pc:sldMkLst>
        <pc:graphicFrameChg chg="mod modGraphic">
          <ac:chgData name="Milena Martinez Valenzuela" userId="be3f4e8d-1043-46cf-ba05-86ea3ca9d6fe" providerId="ADAL" clId="{99D9136B-12E8-468A-9712-3FDC53018C91}" dt="2023-12-11T15:14:36.171" v="1513" actId="14734"/>
          <ac:graphicFrameMkLst>
            <pc:docMk/>
            <pc:sldMk cId="2917938081" sldId="10724"/>
            <ac:graphicFrameMk id="3" creationId="{9220FDDA-5187-89D4-426E-54589DFC76B5}"/>
          </ac:graphicFrameMkLst>
        </pc:graphicFrameChg>
        <pc:picChg chg="mod">
          <ac:chgData name="Milena Martinez Valenzuela" userId="be3f4e8d-1043-46cf-ba05-86ea3ca9d6fe" providerId="ADAL" clId="{99D9136B-12E8-468A-9712-3FDC53018C91}" dt="2023-12-11T15:14:43.747" v="1519" actId="1036"/>
          <ac:picMkLst>
            <pc:docMk/>
            <pc:sldMk cId="2917938081" sldId="10724"/>
            <ac:picMk id="4" creationId="{10FC28CC-EB2F-E1ED-4F1D-88AC34BB5379}"/>
          </ac:picMkLst>
        </pc:picChg>
        <pc:picChg chg="mod">
          <ac:chgData name="Milena Martinez Valenzuela" userId="be3f4e8d-1043-46cf-ba05-86ea3ca9d6fe" providerId="ADAL" clId="{99D9136B-12E8-468A-9712-3FDC53018C91}" dt="2023-12-11T15:14:41.147" v="1515" actId="1076"/>
          <ac:picMkLst>
            <pc:docMk/>
            <pc:sldMk cId="2917938081" sldId="10724"/>
            <ac:picMk id="7" creationId="{4D749CF8-0A96-67A9-96B7-C66E0F1AD1C8}"/>
          </ac:picMkLst>
        </pc:picChg>
        <pc:picChg chg="mod">
          <ac:chgData name="Milena Martinez Valenzuela" userId="be3f4e8d-1043-46cf-ba05-86ea3ca9d6fe" providerId="ADAL" clId="{99D9136B-12E8-468A-9712-3FDC53018C91}" dt="2023-12-11T15:14:48.740" v="1546" actId="1035"/>
          <ac:picMkLst>
            <pc:docMk/>
            <pc:sldMk cId="2917938081" sldId="10724"/>
            <ac:picMk id="9" creationId="{BC9E0BF6-0FEA-1B9F-1734-939A1DCEF0FA}"/>
          </ac:picMkLst>
        </pc:picChg>
        <pc:picChg chg="mod">
          <ac:chgData name="Milena Martinez Valenzuela" userId="be3f4e8d-1043-46cf-ba05-86ea3ca9d6fe" providerId="ADAL" clId="{99D9136B-12E8-468A-9712-3FDC53018C91}" dt="2023-12-11T15:14:03.331" v="1504" actId="1038"/>
          <ac:picMkLst>
            <pc:docMk/>
            <pc:sldMk cId="2917938081" sldId="10724"/>
            <ac:picMk id="10" creationId="{9EBDFD5D-0A83-5940-F684-376FE3524305}"/>
          </ac:picMkLst>
        </pc:picChg>
        <pc:picChg chg="mod">
          <ac:chgData name="Milena Martinez Valenzuela" userId="be3f4e8d-1043-46cf-ba05-86ea3ca9d6fe" providerId="ADAL" clId="{99D9136B-12E8-468A-9712-3FDC53018C91}" dt="2023-12-11T15:14:52.011" v="1561" actId="1036"/>
          <ac:picMkLst>
            <pc:docMk/>
            <pc:sldMk cId="2917938081" sldId="10724"/>
            <ac:picMk id="28" creationId="{828A58F4-3151-F364-004C-8380B0CE5C2F}"/>
          </ac:picMkLst>
        </pc:picChg>
        <pc:picChg chg="mod">
          <ac:chgData name="Milena Martinez Valenzuela" userId="be3f4e8d-1043-46cf-ba05-86ea3ca9d6fe" providerId="ADAL" clId="{99D9136B-12E8-468A-9712-3FDC53018C91}" dt="2023-12-11T15:14:39.363" v="1514" actId="1076"/>
          <ac:picMkLst>
            <pc:docMk/>
            <pc:sldMk cId="2917938081" sldId="10724"/>
            <ac:picMk id="29" creationId="{11FBF7D3-FD7E-5ACC-58F1-5E77F4E82E93}"/>
          </ac:picMkLst>
        </pc:picChg>
      </pc:sldChg>
      <pc:sldChg chg="modSp mod">
        <pc:chgData name="Milena Martinez Valenzuela" userId="be3f4e8d-1043-46cf-ba05-86ea3ca9d6fe" providerId="ADAL" clId="{99D9136B-12E8-468A-9712-3FDC53018C91}" dt="2023-12-11T15:13:11.411" v="1340" actId="1038"/>
        <pc:sldMkLst>
          <pc:docMk/>
          <pc:sldMk cId="442456268" sldId="10725"/>
        </pc:sldMkLst>
        <pc:spChg chg="mod">
          <ac:chgData name="Milena Martinez Valenzuela" userId="be3f4e8d-1043-46cf-ba05-86ea3ca9d6fe" providerId="ADAL" clId="{99D9136B-12E8-468A-9712-3FDC53018C91}" dt="2023-12-11T15:11:49.707" v="1313" actId="14100"/>
          <ac:spMkLst>
            <pc:docMk/>
            <pc:sldMk cId="442456268" sldId="10725"/>
            <ac:spMk id="2" creationId="{166AE1B3-A580-482F-9F24-45B1B9245A2F}"/>
          </ac:spMkLst>
        </pc:spChg>
        <pc:graphicFrameChg chg="mod modGraphic">
          <ac:chgData name="Milena Martinez Valenzuela" userId="be3f4e8d-1043-46cf-ba05-86ea3ca9d6fe" providerId="ADAL" clId="{99D9136B-12E8-468A-9712-3FDC53018C91}" dt="2023-12-11T15:12:59.624" v="1330" actId="242"/>
          <ac:graphicFrameMkLst>
            <pc:docMk/>
            <pc:sldMk cId="442456268" sldId="10725"/>
            <ac:graphicFrameMk id="3" creationId="{9220FDDA-5187-89D4-426E-54589DFC76B5}"/>
          </ac:graphicFrameMkLst>
        </pc:graphicFrameChg>
        <pc:picChg chg="mod">
          <ac:chgData name="Milena Martinez Valenzuela" userId="be3f4e8d-1043-46cf-ba05-86ea3ca9d6fe" providerId="ADAL" clId="{99D9136B-12E8-468A-9712-3FDC53018C91}" dt="2023-12-11T15:13:11.411" v="1340" actId="1038"/>
          <ac:picMkLst>
            <pc:docMk/>
            <pc:sldMk cId="442456268" sldId="10725"/>
            <ac:picMk id="4" creationId="{10FC28CC-EB2F-E1ED-4F1D-88AC34BB5379}"/>
          </ac:picMkLst>
        </pc:picChg>
        <pc:picChg chg="mod">
          <ac:chgData name="Milena Martinez Valenzuela" userId="be3f4e8d-1043-46cf-ba05-86ea3ca9d6fe" providerId="ADAL" clId="{99D9136B-12E8-468A-9712-3FDC53018C91}" dt="2023-12-11T15:13:04.491" v="1332" actId="1076"/>
          <ac:picMkLst>
            <pc:docMk/>
            <pc:sldMk cId="442456268" sldId="10725"/>
            <ac:picMk id="9" creationId="{BC9E0BF6-0FEA-1B9F-1734-939A1DCEF0FA}"/>
          </ac:picMkLst>
        </pc:picChg>
        <pc:picChg chg="mod">
          <ac:chgData name="Milena Martinez Valenzuela" userId="be3f4e8d-1043-46cf-ba05-86ea3ca9d6fe" providerId="ADAL" clId="{99D9136B-12E8-468A-9712-3FDC53018C91}" dt="2023-12-11T15:13:07.835" v="1333" actId="1076"/>
          <ac:picMkLst>
            <pc:docMk/>
            <pc:sldMk cId="442456268" sldId="10725"/>
            <ac:picMk id="28" creationId="{828A58F4-3151-F364-004C-8380B0CE5C2F}"/>
          </ac:picMkLst>
        </pc:picChg>
      </pc:sldChg>
      <pc:sldChg chg="modSp mod">
        <pc:chgData name="Milena Martinez Valenzuela" userId="be3f4e8d-1043-46cf-ba05-86ea3ca9d6fe" providerId="ADAL" clId="{99D9136B-12E8-468A-9712-3FDC53018C91}" dt="2023-12-11T15:15:57.201" v="1580" actId="12788"/>
        <pc:sldMkLst>
          <pc:docMk/>
          <pc:sldMk cId="410850174" sldId="10726"/>
        </pc:sldMkLst>
        <pc:graphicFrameChg chg="mod modGraphic">
          <ac:chgData name="Milena Martinez Valenzuela" userId="be3f4e8d-1043-46cf-ba05-86ea3ca9d6fe" providerId="ADAL" clId="{99D9136B-12E8-468A-9712-3FDC53018C91}" dt="2023-12-11T15:15:37.550" v="1574" actId="14100"/>
          <ac:graphicFrameMkLst>
            <pc:docMk/>
            <pc:sldMk cId="410850174" sldId="10726"/>
            <ac:graphicFrameMk id="3" creationId="{9220FDDA-5187-89D4-426E-54589DFC76B5}"/>
          </ac:graphicFrameMkLst>
        </pc:graphicFrameChg>
        <pc:picChg chg="mod">
          <ac:chgData name="Milena Martinez Valenzuela" userId="be3f4e8d-1043-46cf-ba05-86ea3ca9d6fe" providerId="ADAL" clId="{99D9136B-12E8-468A-9712-3FDC53018C91}" dt="2023-12-11T15:15:57.201" v="1580" actId="12788"/>
          <ac:picMkLst>
            <pc:docMk/>
            <pc:sldMk cId="410850174" sldId="10726"/>
            <ac:picMk id="4" creationId="{10FC28CC-EB2F-E1ED-4F1D-88AC34BB5379}"/>
          </ac:picMkLst>
        </pc:picChg>
        <pc:picChg chg="mod">
          <ac:chgData name="Milena Martinez Valenzuela" userId="be3f4e8d-1043-46cf-ba05-86ea3ca9d6fe" providerId="ADAL" clId="{99D9136B-12E8-468A-9712-3FDC53018C91}" dt="2023-12-11T15:15:57.201" v="1580" actId="12788"/>
          <ac:picMkLst>
            <pc:docMk/>
            <pc:sldMk cId="410850174" sldId="10726"/>
            <ac:picMk id="7" creationId="{579DCA88-5581-2E8C-DFA0-D177060DD68C}"/>
          </ac:picMkLst>
        </pc:picChg>
        <pc:picChg chg="mod">
          <ac:chgData name="Milena Martinez Valenzuela" userId="be3f4e8d-1043-46cf-ba05-86ea3ca9d6fe" providerId="ADAL" clId="{99D9136B-12E8-468A-9712-3FDC53018C91}" dt="2023-12-11T15:15:57.201" v="1580" actId="12788"/>
          <ac:picMkLst>
            <pc:docMk/>
            <pc:sldMk cId="410850174" sldId="10726"/>
            <ac:picMk id="8" creationId="{07C83373-38A6-4A8F-918C-4DF622774B44}"/>
          </ac:picMkLst>
        </pc:picChg>
        <pc:picChg chg="mod">
          <ac:chgData name="Milena Martinez Valenzuela" userId="be3f4e8d-1043-46cf-ba05-86ea3ca9d6fe" providerId="ADAL" clId="{99D9136B-12E8-468A-9712-3FDC53018C91}" dt="2023-12-11T15:15:57.201" v="1580" actId="12788"/>
          <ac:picMkLst>
            <pc:docMk/>
            <pc:sldMk cId="410850174" sldId="10726"/>
            <ac:picMk id="9" creationId="{C6FADDC9-287C-2141-6E52-9AF85B387DCE}"/>
          </ac:picMkLst>
        </pc:picChg>
        <pc:picChg chg="mod">
          <ac:chgData name="Milena Martinez Valenzuela" userId="be3f4e8d-1043-46cf-ba05-86ea3ca9d6fe" providerId="ADAL" clId="{99D9136B-12E8-468A-9712-3FDC53018C91}" dt="2023-12-11T15:15:57.201" v="1580" actId="12788"/>
          <ac:picMkLst>
            <pc:docMk/>
            <pc:sldMk cId="410850174" sldId="10726"/>
            <ac:picMk id="28" creationId="{828A58F4-3151-F364-004C-8380B0CE5C2F}"/>
          </ac:picMkLst>
        </pc:picChg>
      </pc:sldChg>
      <pc:sldChg chg="modSp mod">
        <pc:chgData name="Milena Martinez Valenzuela" userId="be3f4e8d-1043-46cf-ba05-86ea3ca9d6fe" providerId="ADAL" clId="{99D9136B-12E8-468A-9712-3FDC53018C91}" dt="2023-12-11T15:16:53.845" v="1597" actId="207"/>
        <pc:sldMkLst>
          <pc:docMk/>
          <pc:sldMk cId="745958004" sldId="10727"/>
        </pc:sldMkLst>
        <pc:spChg chg="mod">
          <ac:chgData name="Milena Martinez Valenzuela" userId="be3f4e8d-1043-46cf-ba05-86ea3ca9d6fe" providerId="ADAL" clId="{99D9136B-12E8-468A-9712-3FDC53018C91}" dt="2023-12-11T15:16:49.213" v="1596" actId="1076"/>
          <ac:spMkLst>
            <pc:docMk/>
            <pc:sldMk cId="745958004" sldId="10727"/>
            <ac:spMk id="2" creationId="{166AE1B3-A580-482F-9F24-45B1B9245A2F}"/>
          </ac:spMkLst>
        </pc:spChg>
        <pc:graphicFrameChg chg="mod modGraphic">
          <ac:chgData name="Milena Martinez Valenzuela" userId="be3f4e8d-1043-46cf-ba05-86ea3ca9d6fe" providerId="ADAL" clId="{99D9136B-12E8-468A-9712-3FDC53018C91}" dt="2023-12-11T15:16:53.845" v="1597" actId="207"/>
          <ac:graphicFrameMkLst>
            <pc:docMk/>
            <pc:sldMk cId="745958004" sldId="10727"/>
            <ac:graphicFrameMk id="3" creationId="{9220FDDA-5187-89D4-426E-54589DFC76B5}"/>
          </ac:graphicFrameMkLst>
        </pc:graphicFrameChg>
        <pc:picChg chg="mod">
          <ac:chgData name="Milena Martinez Valenzuela" userId="be3f4e8d-1043-46cf-ba05-86ea3ca9d6fe" providerId="ADAL" clId="{99D9136B-12E8-468A-9712-3FDC53018C91}" dt="2023-12-11T15:16:43.723" v="1594" actId="1076"/>
          <ac:picMkLst>
            <pc:docMk/>
            <pc:sldMk cId="745958004" sldId="10727"/>
            <ac:picMk id="4" creationId="{EEF51097-0D37-FEE6-D889-FD837C7DFCC3}"/>
          </ac:picMkLst>
        </pc:picChg>
        <pc:picChg chg="mod">
          <ac:chgData name="Milena Martinez Valenzuela" userId="be3f4e8d-1043-46cf-ba05-86ea3ca9d6fe" providerId="ADAL" clId="{99D9136B-12E8-468A-9712-3FDC53018C91}" dt="2023-12-11T15:16:43.723" v="1594" actId="1076"/>
          <ac:picMkLst>
            <pc:docMk/>
            <pc:sldMk cId="745958004" sldId="10727"/>
            <ac:picMk id="9" creationId="{BC9E0BF6-0FEA-1B9F-1734-939A1DCEF0FA}"/>
          </ac:picMkLst>
        </pc:picChg>
      </pc:sldChg>
      <pc:sldChg chg="addSp delSp modSp mod">
        <pc:chgData name="Milena Martinez Valenzuela" userId="be3f4e8d-1043-46cf-ba05-86ea3ca9d6fe" providerId="ADAL" clId="{99D9136B-12E8-468A-9712-3FDC53018C91}" dt="2023-12-11T15:33:15.056" v="1904"/>
        <pc:sldMkLst>
          <pc:docMk/>
          <pc:sldMk cId="319790347" sldId="2147471239"/>
        </pc:sldMkLst>
        <pc:spChg chg="mod">
          <ac:chgData name="Milena Martinez Valenzuela" userId="be3f4e8d-1043-46cf-ba05-86ea3ca9d6fe" providerId="ADAL" clId="{99D9136B-12E8-468A-9712-3FDC53018C91}" dt="2023-12-11T14:15:43.848" v="113" actId="1035"/>
          <ac:spMkLst>
            <pc:docMk/>
            <pc:sldMk cId="319790347" sldId="2147471239"/>
            <ac:spMk id="2" creationId="{79FF9171-4EFA-C7FC-9453-8B12E46DE596}"/>
          </ac:spMkLst>
        </pc:spChg>
        <pc:spChg chg="add mod">
          <ac:chgData name="Milena Martinez Valenzuela" userId="be3f4e8d-1043-46cf-ba05-86ea3ca9d6fe" providerId="ADAL" clId="{99D9136B-12E8-468A-9712-3FDC53018C91}" dt="2023-12-11T15:33:15.056" v="1904"/>
          <ac:spMkLst>
            <pc:docMk/>
            <pc:sldMk cId="319790347" sldId="2147471239"/>
            <ac:spMk id="4" creationId="{135FA2B3-0405-09B8-FFAF-F9F2A7766CB1}"/>
          </ac:spMkLst>
        </pc:spChg>
        <pc:spChg chg="add mod">
          <ac:chgData name="Milena Martinez Valenzuela" userId="be3f4e8d-1043-46cf-ba05-86ea3ca9d6fe" providerId="ADAL" clId="{99D9136B-12E8-468A-9712-3FDC53018C91}" dt="2023-12-11T15:33:15.056" v="1904"/>
          <ac:spMkLst>
            <pc:docMk/>
            <pc:sldMk cId="319790347" sldId="2147471239"/>
            <ac:spMk id="5" creationId="{F50A1507-29E5-976F-1E7C-C2837F7CF8E3}"/>
          </ac:spMkLst>
        </pc:spChg>
        <pc:spChg chg="del">
          <ac:chgData name="Milena Martinez Valenzuela" userId="be3f4e8d-1043-46cf-ba05-86ea3ca9d6fe" providerId="ADAL" clId="{99D9136B-12E8-468A-9712-3FDC53018C91}" dt="2023-12-11T15:33:14.070" v="1903" actId="478"/>
          <ac:spMkLst>
            <pc:docMk/>
            <pc:sldMk cId="319790347" sldId="2147471239"/>
            <ac:spMk id="7" creationId="{3334E831-84D2-462E-A445-F13223E65886}"/>
          </ac:spMkLst>
        </pc:spChg>
        <pc:spChg chg="del">
          <ac:chgData name="Milena Martinez Valenzuela" userId="be3f4e8d-1043-46cf-ba05-86ea3ca9d6fe" providerId="ADAL" clId="{99D9136B-12E8-468A-9712-3FDC53018C91}" dt="2023-12-11T15:33:14.070" v="1903" actId="478"/>
          <ac:spMkLst>
            <pc:docMk/>
            <pc:sldMk cId="319790347" sldId="2147471239"/>
            <ac:spMk id="8" creationId="{9C202F89-21EF-4C59-B355-7B561504F373}"/>
          </ac:spMkLst>
        </pc:spChg>
      </pc:sldChg>
      <pc:sldChg chg="addSp delSp modSp mod">
        <pc:chgData name="Milena Martinez Valenzuela" userId="be3f4e8d-1043-46cf-ba05-86ea3ca9d6fe" providerId="ADAL" clId="{99D9136B-12E8-468A-9712-3FDC53018C91}" dt="2023-12-11T15:33:19.304" v="1906"/>
        <pc:sldMkLst>
          <pc:docMk/>
          <pc:sldMk cId="902166395" sldId="2147471240"/>
        </pc:sldMkLst>
        <pc:spChg chg="mod">
          <ac:chgData name="Milena Martinez Valenzuela" userId="be3f4e8d-1043-46cf-ba05-86ea3ca9d6fe" providerId="ADAL" clId="{99D9136B-12E8-468A-9712-3FDC53018C91}" dt="2023-12-11T14:16:24.082" v="138" actId="1035"/>
          <ac:spMkLst>
            <pc:docMk/>
            <pc:sldMk cId="902166395" sldId="2147471240"/>
            <ac:spMk id="2" creationId="{79FF9171-4EFA-C7FC-9453-8B12E46DE596}"/>
          </ac:spMkLst>
        </pc:spChg>
        <pc:spChg chg="add mod">
          <ac:chgData name="Milena Martinez Valenzuela" userId="be3f4e8d-1043-46cf-ba05-86ea3ca9d6fe" providerId="ADAL" clId="{99D9136B-12E8-468A-9712-3FDC53018C91}" dt="2023-12-11T15:33:19.304" v="1906"/>
          <ac:spMkLst>
            <pc:docMk/>
            <pc:sldMk cId="902166395" sldId="2147471240"/>
            <ac:spMk id="3" creationId="{F6285D8F-0FC1-048A-4947-55DE6A950F9D}"/>
          </ac:spMkLst>
        </pc:spChg>
        <pc:spChg chg="add mod">
          <ac:chgData name="Milena Martinez Valenzuela" userId="be3f4e8d-1043-46cf-ba05-86ea3ca9d6fe" providerId="ADAL" clId="{99D9136B-12E8-468A-9712-3FDC53018C91}" dt="2023-12-11T15:33:19.304" v="1906"/>
          <ac:spMkLst>
            <pc:docMk/>
            <pc:sldMk cId="902166395" sldId="2147471240"/>
            <ac:spMk id="6" creationId="{286A08D5-D3C6-364B-42C5-3A81CEFB759C}"/>
          </ac:spMkLst>
        </pc:spChg>
        <pc:spChg chg="del">
          <ac:chgData name="Milena Martinez Valenzuela" userId="be3f4e8d-1043-46cf-ba05-86ea3ca9d6fe" providerId="ADAL" clId="{99D9136B-12E8-468A-9712-3FDC53018C91}" dt="2023-12-11T15:33:18.301" v="1905" actId="478"/>
          <ac:spMkLst>
            <pc:docMk/>
            <pc:sldMk cId="902166395" sldId="2147471240"/>
            <ac:spMk id="7" creationId="{3334E831-84D2-462E-A445-F13223E65886}"/>
          </ac:spMkLst>
        </pc:spChg>
        <pc:spChg chg="del">
          <ac:chgData name="Milena Martinez Valenzuela" userId="be3f4e8d-1043-46cf-ba05-86ea3ca9d6fe" providerId="ADAL" clId="{99D9136B-12E8-468A-9712-3FDC53018C91}" dt="2023-12-11T15:33:18.301" v="1905" actId="478"/>
          <ac:spMkLst>
            <pc:docMk/>
            <pc:sldMk cId="902166395" sldId="2147471240"/>
            <ac:spMk id="8" creationId="{9C202F89-21EF-4C59-B355-7B561504F373}"/>
          </ac:spMkLst>
        </pc:spChg>
        <pc:spChg chg="mod">
          <ac:chgData name="Milena Martinez Valenzuela" userId="be3f4e8d-1043-46cf-ba05-86ea3ca9d6fe" providerId="ADAL" clId="{99D9136B-12E8-468A-9712-3FDC53018C91}" dt="2023-12-11T14:16:51.653" v="163" actId="207"/>
          <ac:spMkLst>
            <pc:docMk/>
            <pc:sldMk cId="902166395" sldId="2147471240"/>
            <ac:spMk id="10" creationId="{C77F4BA3-0D2A-82EE-B49C-E477FB66A2B6}"/>
          </ac:spMkLst>
        </pc:spChg>
        <pc:graphicFrameChg chg="mod">
          <ac:chgData name="Milena Martinez Valenzuela" userId="be3f4e8d-1043-46cf-ba05-86ea3ca9d6fe" providerId="ADAL" clId="{99D9136B-12E8-468A-9712-3FDC53018C91}" dt="2023-12-11T14:16:41.885" v="160" actId="208"/>
          <ac:graphicFrameMkLst>
            <pc:docMk/>
            <pc:sldMk cId="902166395" sldId="2147471240"/>
            <ac:graphicFrameMk id="4" creationId="{439E9468-D380-D3AA-1B22-5FF712728761}"/>
          </ac:graphicFrameMkLst>
        </pc:graphicFrameChg>
        <pc:graphicFrameChg chg="mod">
          <ac:chgData name="Milena Martinez Valenzuela" userId="be3f4e8d-1043-46cf-ba05-86ea3ca9d6fe" providerId="ADAL" clId="{99D9136B-12E8-468A-9712-3FDC53018C91}" dt="2023-12-11T14:16:44.203" v="161" actId="208"/>
          <ac:graphicFrameMkLst>
            <pc:docMk/>
            <pc:sldMk cId="902166395" sldId="2147471240"/>
            <ac:graphicFrameMk id="5" creationId="{4AC30DA8-8A0C-DEE5-13CD-3D9A961152AD}"/>
          </ac:graphicFrameMkLst>
        </pc:graphicFrameChg>
      </pc:sldChg>
      <pc:sldChg chg="addSp delSp modSp mod">
        <pc:chgData name="Milena Martinez Valenzuela" userId="be3f4e8d-1043-46cf-ba05-86ea3ca9d6fe" providerId="ADAL" clId="{99D9136B-12E8-468A-9712-3FDC53018C91}" dt="2023-12-11T15:33:22.527" v="1908"/>
        <pc:sldMkLst>
          <pc:docMk/>
          <pc:sldMk cId="4230956183" sldId="2147471241"/>
        </pc:sldMkLst>
        <pc:spChg chg="mod">
          <ac:chgData name="Milena Martinez Valenzuela" userId="be3f4e8d-1043-46cf-ba05-86ea3ca9d6fe" providerId="ADAL" clId="{99D9136B-12E8-468A-9712-3FDC53018C91}" dt="2023-12-11T14:17:03.657" v="175" actId="14100"/>
          <ac:spMkLst>
            <pc:docMk/>
            <pc:sldMk cId="4230956183" sldId="2147471241"/>
            <ac:spMk id="2" creationId="{79FF9171-4EFA-C7FC-9453-8B12E46DE596}"/>
          </ac:spMkLst>
        </pc:spChg>
        <pc:spChg chg="add mod">
          <ac:chgData name="Milena Martinez Valenzuela" userId="be3f4e8d-1043-46cf-ba05-86ea3ca9d6fe" providerId="ADAL" clId="{99D9136B-12E8-468A-9712-3FDC53018C91}" dt="2023-12-11T15:33:22.527" v="1908"/>
          <ac:spMkLst>
            <pc:docMk/>
            <pc:sldMk cId="4230956183" sldId="2147471241"/>
            <ac:spMk id="4" creationId="{72CD0783-25C6-B19B-20F3-9FBECDCD2920}"/>
          </ac:spMkLst>
        </pc:spChg>
        <pc:spChg chg="add mod">
          <ac:chgData name="Milena Martinez Valenzuela" userId="be3f4e8d-1043-46cf-ba05-86ea3ca9d6fe" providerId="ADAL" clId="{99D9136B-12E8-468A-9712-3FDC53018C91}" dt="2023-12-11T15:33:22.527" v="1908"/>
          <ac:spMkLst>
            <pc:docMk/>
            <pc:sldMk cId="4230956183" sldId="2147471241"/>
            <ac:spMk id="5" creationId="{DD32EDF0-E203-0888-101B-9656472ABDC0}"/>
          </ac:spMkLst>
        </pc:spChg>
        <pc:spChg chg="del">
          <ac:chgData name="Milena Martinez Valenzuela" userId="be3f4e8d-1043-46cf-ba05-86ea3ca9d6fe" providerId="ADAL" clId="{99D9136B-12E8-468A-9712-3FDC53018C91}" dt="2023-12-11T15:33:21.644" v="1907" actId="478"/>
          <ac:spMkLst>
            <pc:docMk/>
            <pc:sldMk cId="4230956183" sldId="2147471241"/>
            <ac:spMk id="7" creationId="{3334E831-84D2-462E-A445-F13223E65886}"/>
          </ac:spMkLst>
        </pc:spChg>
        <pc:spChg chg="del">
          <ac:chgData name="Milena Martinez Valenzuela" userId="be3f4e8d-1043-46cf-ba05-86ea3ca9d6fe" providerId="ADAL" clId="{99D9136B-12E8-468A-9712-3FDC53018C91}" dt="2023-12-11T15:33:21.644" v="1907" actId="478"/>
          <ac:spMkLst>
            <pc:docMk/>
            <pc:sldMk cId="4230956183" sldId="2147471241"/>
            <ac:spMk id="8" creationId="{9C202F89-21EF-4C59-B355-7B561504F373}"/>
          </ac:spMkLst>
        </pc:spChg>
        <pc:spChg chg="mod">
          <ac:chgData name="Milena Martinez Valenzuela" userId="be3f4e8d-1043-46cf-ba05-86ea3ca9d6fe" providerId="ADAL" clId="{99D9136B-12E8-468A-9712-3FDC53018C91}" dt="2023-12-11T14:17:27.993" v="183" actId="1076"/>
          <ac:spMkLst>
            <pc:docMk/>
            <pc:sldMk cId="4230956183" sldId="2147471241"/>
            <ac:spMk id="9" creationId="{54D09AC6-396A-0FDE-D57B-D8BC3220D99C}"/>
          </ac:spMkLst>
        </pc:spChg>
        <pc:graphicFrameChg chg="mod">
          <ac:chgData name="Milena Martinez Valenzuela" userId="be3f4e8d-1043-46cf-ba05-86ea3ca9d6fe" providerId="ADAL" clId="{99D9136B-12E8-468A-9712-3FDC53018C91}" dt="2023-12-11T14:17:18.532" v="180" actId="208"/>
          <ac:graphicFrameMkLst>
            <pc:docMk/>
            <pc:sldMk cId="4230956183" sldId="2147471241"/>
            <ac:graphicFrameMk id="3" creationId="{D2CF6DA1-1A20-88BB-95DC-7BB647854626}"/>
          </ac:graphicFrameMkLst>
        </pc:graphicFrameChg>
        <pc:graphicFrameChg chg="mod">
          <ac:chgData name="Milena Martinez Valenzuela" userId="be3f4e8d-1043-46cf-ba05-86ea3ca9d6fe" providerId="ADAL" clId="{99D9136B-12E8-468A-9712-3FDC53018C91}" dt="2023-12-11T14:17:20.887" v="181" actId="208"/>
          <ac:graphicFrameMkLst>
            <pc:docMk/>
            <pc:sldMk cId="4230956183" sldId="2147471241"/>
            <ac:graphicFrameMk id="6" creationId="{9F429372-6F0B-AD9C-8ACF-FC5073CE3709}"/>
          </ac:graphicFrameMkLst>
        </pc:graphicFrameChg>
      </pc:sldChg>
      <pc:sldChg chg="addSp delSp modSp mod">
        <pc:chgData name="Milena Martinez Valenzuela" userId="be3f4e8d-1043-46cf-ba05-86ea3ca9d6fe" providerId="ADAL" clId="{99D9136B-12E8-468A-9712-3FDC53018C91}" dt="2023-12-11T15:33:30.197" v="1912"/>
        <pc:sldMkLst>
          <pc:docMk/>
          <pc:sldMk cId="131954824" sldId="2147471242"/>
        </pc:sldMkLst>
        <pc:spChg chg="mod">
          <ac:chgData name="Milena Martinez Valenzuela" userId="be3f4e8d-1043-46cf-ba05-86ea3ca9d6fe" providerId="ADAL" clId="{99D9136B-12E8-468A-9712-3FDC53018C91}" dt="2023-12-11T14:20:18.818" v="217" actId="14100"/>
          <ac:spMkLst>
            <pc:docMk/>
            <pc:sldMk cId="131954824" sldId="2147471242"/>
            <ac:spMk id="2" creationId="{79FF9171-4EFA-C7FC-9453-8B12E46DE596}"/>
          </ac:spMkLst>
        </pc:spChg>
        <pc:spChg chg="mod">
          <ac:chgData name="Milena Martinez Valenzuela" userId="be3f4e8d-1043-46cf-ba05-86ea3ca9d6fe" providerId="ADAL" clId="{99D9136B-12E8-468A-9712-3FDC53018C91}" dt="2023-12-11T14:21:07.745" v="229" actId="1076"/>
          <ac:spMkLst>
            <pc:docMk/>
            <pc:sldMk cId="131954824" sldId="2147471242"/>
            <ac:spMk id="4" creationId="{74311F72-BB32-B220-E8FA-7B45B7AE8016}"/>
          </ac:spMkLst>
        </pc:spChg>
        <pc:spChg chg="add mod">
          <ac:chgData name="Milena Martinez Valenzuela" userId="be3f4e8d-1043-46cf-ba05-86ea3ca9d6fe" providerId="ADAL" clId="{99D9136B-12E8-468A-9712-3FDC53018C91}" dt="2023-12-11T15:33:30.197" v="1912"/>
          <ac:spMkLst>
            <pc:docMk/>
            <pc:sldMk cId="131954824" sldId="2147471242"/>
            <ac:spMk id="5" creationId="{0B33063A-B5F6-FB31-5C4F-C4A1C4B32A9C}"/>
          </ac:spMkLst>
        </pc:spChg>
        <pc:spChg chg="add mod">
          <ac:chgData name="Milena Martinez Valenzuela" userId="be3f4e8d-1043-46cf-ba05-86ea3ca9d6fe" providerId="ADAL" clId="{99D9136B-12E8-468A-9712-3FDC53018C91}" dt="2023-12-11T15:33:30.197" v="1912"/>
          <ac:spMkLst>
            <pc:docMk/>
            <pc:sldMk cId="131954824" sldId="2147471242"/>
            <ac:spMk id="6" creationId="{4BA22F51-88DC-5338-CC90-E0D067700458}"/>
          </ac:spMkLst>
        </pc:spChg>
        <pc:spChg chg="del">
          <ac:chgData name="Milena Martinez Valenzuela" userId="be3f4e8d-1043-46cf-ba05-86ea3ca9d6fe" providerId="ADAL" clId="{99D9136B-12E8-468A-9712-3FDC53018C91}" dt="2023-12-11T15:33:29.323" v="1911" actId="478"/>
          <ac:spMkLst>
            <pc:docMk/>
            <pc:sldMk cId="131954824" sldId="2147471242"/>
            <ac:spMk id="7" creationId="{3334E831-84D2-462E-A445-F13223E65886}"/>
          </ac:spMkLst>
        </pc:spChg>
        <pc:spChg chg="del">
          <ac:chgData name="Milena Martinez Valenzuela" userId="be3f4e8d-1043-46cf-ba05-86ea3ca9d6fe" providerId="ADAL" clId="{99D9136B-12E8-468A-9712-3FDC53018C91}" dt="2023-12-11T15:33:29.323" v="1911" actId="478"/>
          <ac:spMkLst>
            <pc:docMk/>
            <pc:sldMk cId="131954824" sldId="2147471242"/>
            <ac:spMk id="8" creationId="{9C202F89-21EF-4C59-B355-7B561504F373}"/>
          </ac:spMkLst>
        </pc:spChg>
        <pc:graphicFrameChg chg="mod">
          <ac:chgData name="Milena Martinez Valenzuela" userId="be3f4e8d-1043-46cf-ba05-86ea3ca9d6fe" providerId="ADAL" clId="{99D9136B-12E8-468A-9712-3FDC53018C91}" dt="2023-12-11T14:21:03.821" v="228" actId="207"/>
          <ac:graphicFrameMkLst>
            <pc:docMk/>
            <pc:sldMk cId="131954824" sldId="2147471242"/>
            <ac:graphicFrameMk id="3" creationId="{2962FA88-0E3A-D2E4-3D73-9E92C944FB5B}"/>
          </ac:graphicFrameMkLst>
        </pc:graphicFrameChg>
      </pc:sldChg>
      <pc:sldChg chg="addSp delSp modSp mod">
        <pc:chgData name="Milena Martinez Valenzuela" userId="be3f4e8d-1043-46cf-ba05-86ea3ca9d6fe" providerId="ADAL" clId="{99D9136B-12E8-468A-9712-3FDC53018C91}" dt="2023-12-11T15:33:26.420" v="1910"/>
        <pc:sldMkLst>
          <pc:docMk/>
          <pc:sldMk cId="616623292" sldId="2147471243"/>
        </pc:sldMkLst>
        <pc:spChg chg="mod">
          <ac:chgData name="Milena Martinez Valenzuela" userId="be3f4e8d-1043-46cf-ba05-86ea3ca9d6fe" providerId="ADAL" clId="{99D9136B-12E8-468A-9712-3FDC53018C91}" dt="2023-12-11T14:17:40.633" v="187" actId="14100"/>
          <ac:spMkLst>
            <pc:docMk/>
            <pc:sldMk cId="616623292" sldId="2147471243"/>
            <ac:spMk id="2" creationId="{79FF9171-4EFA-C7FC-9453-8B12E46DE596}"/>
          </ac:spMkLst>
        </pc:spChg>
        <pc:spChg chg="add mod">
          <ac:chgData name="Milena Martinez Valenzuela" userId="be3f4e8d-1043-46cf-ba05-86ea3ca9d6fe" providerId="ADAL" clId="{99D9136B-12E8-468A-9712-3FDC53018C91}" dt="2023-12-11T15:33:26.420" v="1910"/>
          <ac:spMkLst>
            <pc:docMk/>
            <pc:sldMk cId="616623292" sldId="2147471243"/>
            <ac:spMk id="3" creationId="{1A309FD4-069B-FAC2-E834-A094D58FC7B5}"/>
          </ac:spMkLst>
        </pc:spChg>
        <pc:spChg chg="add mod">
          <ac:chgData name="Milena Martinez Valenzuela" userId="be3f4e8d-1043-46cf-ba05-86ea3ca9d6fe" providerId="ADAL" clId="{99D9136B-12E8-468A-9712-3FDC53018C91}" dt="2023-12-11T15:33:26.420" v="1910"/>
          <ac:spMkLst>
            <pc:docMk/>
            <pc:sldMk cId="616623292" sldId="2147471243"/>
            <ac:spMk id="4" creationId="{BA703C37-3723-4D19-5A13-40D4A79FAC1F}"/>
          </ac:spMkLst>
        </pc:spChg>
        <pc:spChg chg="mod">
          <ac:chgData name="Milena Martinez Valenzuela" userId="be3f4e8d-1043-46cf-ba05-86ea3ca9d6fe" providerId="ADAL" clId="{99D9136B-12E8-468A-9712-3FDC53018C91}" dt="2023-12-11T14:20:07.777" v="214" actId="1076"/>
          <ac:spMkLst>
            <pc:docMk/>
            <pc:sldMk cId="616623292" sldId="2147471243"/>
            <ac:spMk id="5" creationId="{3D582170-C71A-3D89-14C9-929352417B88}"/>
          </ac:spMkLst>
        </pc:spChg>
        <pc:spChg chg="del">
          <ac:chgData name="Milena Martinez Valenzuela" userId="be3f4e8d-1043-46cf-ba05-86ea3ca9d6fe" providerId="ADAL" clId="{99D9136B-12E8-468A-9712-3FDC53018C91}" dt="2023-12-11T15:33:25.555" v="1909" actId="478"/>
          <ac:spMkLst>
            <pc:docMk/>
            <pc:sldMk cId="616623292" sldId="2147471243"/>
            <ac:spMk id="7" creationId="{3334E831-84D2-462E-A445-F13223E65886}"/>
          </ac:spMkLst>
        </pc:spChg>
        <pc:spChg chg="del">
          <ac:chgData name="Milena Martinez Valenzuela" userId="be3f4e8d-1043-46cf-ba05-86ea3ca9d6fe" providerId="ADAL" clId="{99D9136B-12E8-468A-9712-3FDC53018C91}" dt="2023-12-11T15:33:25.555" v="1909" actId="478"/>
          <ac:spMkLst>
            <pc:docMk/>
            <pc:sldMk cId="616623292" sldId="2147471243"/>
            <ac:spMk id="8" creationId="{9C202F89-21EF-4C59-B355-7B561504F373}"/>
          </ac:spMkLst>
        </pc:spChg>
        <pc:spChg chg="mod">
          <ac:chgData name="Milena Martinez Valenzuela" userId="be3f4e8d-1043-46cf-ba05-86ea3ca9d6fe" providerId="ADAL" clId="{99D9136B-12E8-468A-9712-3FDC53018C91}" dt="2023-12-11T14:19:45.807" v="209" actId="207"/>
          <ac:spMkLst>
            <pc:docMk/>
            <pc:sldMk cId="616623292" sldId="2147471243"/>
            <ac:spMk id="10" creationId="{64F72C78-D6AD-0901-BCAC-ED5384B993E6}"/>
          </ac:spMkLst>
        </pc:spChg>
        <pc:graphicFrameChg chg="mod modGraphic">
          <ac:chgData name="Milena Martinez Valenzuela" userId="be3f4e8d-1043-46cf-ba05-86ea3ca9d6fe" providerId="ADAL" clId="{99D9136B-12E8-468A-9712-3FDC53018C91}" dt="2023-12-11T14:19:31.866" v="206" actId="2062"/>
          <ac:graphicFrameMkLst>
            <pc:docMk/>
            <pc:sldMk cId="616623292" sldId="2147471243"/>
            <ac:graphicFrameMk id="6" creationId="{F95AEF15-4417-3A54-EB90-74257B5E1D62}"/>
          </ac:graphicFrameMkLst>
        </pc:graphicFrameChg>
      </pc:sldChg>
      <pc:sldChg chg="addSp delSp modSp mod">
        <pc:chgData name="Milena Martinez Valenzuela" userId="be3f4e8d-1043-46cf-ba05-86ea3ca9d6fe" providerId="ADAL" clId="{99D9136B-12E8-468A-9712-3FDC53018C91}" dt="2023-12-11T15:34:31.057" v="1938"/>
        <pc:sldMkLst>
          <pc:docMk/>
          <pc:sldMk cId="2006891235" sldId="2147471245"/>
        </pc:sldMkLst>
        <pc:spChg chg="add mod">
          <ac:chgData name="Milena Martinez Valenzuela" userId="be3f4e8d-1043-46cf-ba05-86ea3ca9d6fe" providerId="ADAL" clId="{99D9136B-12E8-468A-9712-3FDC53018C91}" dt="2023-12-11T15:34:31.057" v="1938"/>
          <ac:spMkLst>
            <pc:docMk/>
            <pc:sldMk cId="2006891235" sldId="2147471245"/>
            <ac:spMk id="2" creationId="{45537D43-C6F3-63EF-CAB4-71C4A10D94EF}"/>
          </ac:spMkLst>
        </pc:spChg>
        <pc:spChg chg="mod">
          <ac:chgData name="Milena Martinez Valenzuela" userId="be3f4e8d-1043-46cf-ba05-86ea3ca9d6fe" providerId="ADAL" clId="{99D9136B-12E8-468A-9712-3FDC53018C91}" dt="2023-12-11T14:47:26.948" v="842" actId="20577"/>
          <ac:spMkLst>
            <pc:docMk/>
            <pc:sldMk cId="2006891235" sldId="2147471245"/>
            <ac:spMk id="3" creationId="{00000000-0000-0000-0000-000000000000}"/>
          </ac:spMkLst>
        </pc:spChg>
        <pc:spChg chg="del">
          <ac:chgData name="Milena Martinez Valenzuela" userId="be3f4e8d-1043-46cf-ba05-86ea3ca9d6fe" providerId="ADAL" clId="{99D9136B-12E8-468A-9712-3FDC53018C91}" dt="2023-12-11T15:34:30.311" v="1937" actId="478"/>
          <ac:spMkLst>
            <pc:docMk/>
            <pc:sldMk cId="2006891235" sldId="2147471245"/>
            <ac:spMk id="4" creationId="{E80D9CDD-6DFC-C0CF-C805-42C8B267A2CD}"/>
          </ac:spMkLst>
        </pc:spChg>
        <pc:spChg chg="mod">
          <ac:chgData name="Milena Martinez Valenzuela" userId="be3f4e8d-1043-46cf-ba05-86ea3ca9d6fe" providerId="ADAL" clId="{99D9136B-12E8-468A-9712-3FDC53018C91}" dt="2023-12-11T14:47:09.794" v="835" actId="1037"/>
          <ac:spMkLst>
            <pc:docMk/>
            <pc:sldMk cId="2006891235" sldId="2147471245"/>
            <ac:spMk id="5" creationId="{A831AEE5-2A11-D47F-B7E7-F2F82B117773}"/>
          </ac:spMkLst>
        </pc:spChg>
        <pc:spChg chg="add mod">
          <ac:chgData name="Milena Martinez Valenzuela" userId="be3f4e8d-1043-46cf-ba05-86ea3ca9d6fe" providerId="ADAL" clId="{99D9136B-12E8-468A-9712-3FDC53018C91}" dt="2023-12-11T15:34:31.057" v="1938"/>
          <ac:spMkLst>
            <pc:docMk/>
            <pc:sldMk cId="2006891235" sldId="2147471245"/>
            <ac:spMk id="6" creationId="{F256E516-E1C1-186C-93B7-6E4810B83877}"/>
          </ac:spMkLst>
        </pc:spChg>
        <pc:spChg chg="del">
          <ac:chgData name="Milena Martinez Valenzuela" userId="be3f4e8d-1043-46cf-ba05-86ea3ca9d6fe" providerId="ADAL" clId="{99D9136B-12E8-468A-9712-3FDC53018C91}" dt="2023-12-11T15:34:30.311" v="1937" actId="478"/>
          <ac:spMkLst>
            <pc:docMk/>
            <pc:sldMk cId="2006891235" sldId="2147471245"/>
            <ac:spMk id="7" creationId="{F61902C3-6183-B416-30C0-92FA1CA72255}"/>
          </ac:spMkLst>
        </pc:spChg>
      </pc:sldChg>
      <pc:sldChg chg="addSp delSp modSp mod">
        <pc:chgData name="Milena Martinez Valenzuela" userId="be3f4e8d-1043-46cf-ba05-86ea3ca9d6fe" providerId="ADAL" clId="{99D9136B-12E8-468A-9712-3FDC53018C91}" dt="2023-12-11T15:34:33.654" v="1940"/>
        <pc:sldMkLst>
          <pc:docMk/>
          <pc:sldMk cId="4172540067" sldId="2147471246"/>
        </pc:sldMkLst>
        <pc:spChg chg="add mod">
          <ac:chgData name="Milena Martinez Valenzuela" userId="be3f4e8d-1043-46cf-ba05-86ea3ca9d6fe" providerId="ADAL" clId="{99D9136B-12E8-468A-9712-3FDC53018C91}" dt="2023-12-11T15:34:33.654" v="1940"/>
          <ac:spMkLst>
            <pc:docMk/>
            <pc:sldMk cId="4172540067" sldId="2147471246"/>
            <ac:spMk id="2" creationId="{1F9F6097-BC91-40A9-4929-8DF0CAF08F66}"/>
          </ac:spMkLst>
        </pc:spChg>
        <pc:spChg chg="mod">
          <ac:chgData name="Milena Martinez Valenzuela" userId="be3f4e8d-1043-46cf-ba05-86ea3ca9d6fe" providerId="ADAL" clId="{99D9136B-12E8-468A-9712-3FDC53018C91}" dt="2023-12-11T14:47:54.696" v="857" actId="255"/>
          <ac:spMkLst>
            <pc:docMk/>
            <pc:sldMk cId="4172540067" sldId="2147471246"/>
            <ac:spMk id="3" creationId="{00000000-0000-0000-0000-000000000000}"/>
          </ac:spMkLst>
        </pc:spChg>
        <pc:spChg chg="del">
          <ac:chgData name="Milena Martinez Valenzuela" userId="be3f4e8d-1043-46cf-ba05-86ea3ca9d6fe" providerId="ADAL" clId="{99D9136B-12E8-468A-9712-3FDC53018C91}" dt="2023-12-11T15:34:32.868" v="1939" actId="478"/>
          <ac:spMkLst>
            <pc:docMk/>
            <pc:sldMk cId="4172540067" sldId="2147471246"/>
            <ac:spMk id="4" creationId="{E80D9CDD-6DFC-C0CF-C805-42C8B267A2CD}"/>
          </ac:spMkLst>
        </pc:spChg>
        <pc:spChg chg="mod">
          <ac:chgData name="Milena Martinez Valenzuela" userId="be3f4e8d-1043-46cf-ba05-86ea3ca9d6fe" providerId="ADAL" clId="{99D9136B-12E8-468A-9712-3FDC53018C91}" dt="2023-12-11T14:47:37.842" v="851" actId="1037"/>
          <ac:spMkLst>
            <pc:docMk/>
            <pc:sldMk cId="4172540067" sldId="2147471246"/>
            <ac:spMk id="5" creationId="{A831AEE5-2A11-D47F-B7E7-F2F82B117773}"/>
          </ac:spMkLst>
        </pc:spChg>
        <pc:spChg chg="add mod">
          <ac:chgData name="Milena Martinez Valenzuela" userId="be3f4e8d-1043-46cf-ba05-86ea3ca9d6fe" providerId="ADAL" clId="{99D9136B-12E8-468A-9712-3FDC53018C91}" dt="2023-12-11T15:34:33.654" v="1940"/>
          <ac:spMkLst>
            <pc:docMk/>
            <pc:sldMk cId="4172540067" sldId="2147471246"/>
            <ac:spMk id="6" creationId="{3AA0EFC6-2FFE-0201-F91F-A286D283D263}"/>
          </ac:spMkLst>
        </pc:spChg>
        <pc:spChg chg="del">
          <ac:chgData name="Milena Martinez Valenzuela" userId="be3f4e8d-1043-46cf-ba05-86ea3ca9d6fe" providerId="ADAL" clId="{99D9136B-12E8-468A-9712-3FDC53018C91}" dt="2023-12-11T15:34:32.868" v="1939" actId="478"/>
          <ac:spMkLst>
            <pc:docMk/>
            <pc:sldMk cId="4172540067" sldId="2147471246"/>
            <ac:spMk id="7" creationId="{F61902C3-6183-B416-30C0-92FA1CA72255}"/>
          </ac:spMkLst>
        </pc:spChg>
      </pc:sldChg>
      <pc:sldChg chg="addSp delSp modSp mod modCm">
        <pc:chgData name="Milena Martinez Valenzuela" userId="be3f4e8d-1043-46cf-ba05-86ea3ca9d6fe" providerId="ADAL" clId="{99D9136B-12E8-468A-9712-3FDC53018C91}" dt="2023-12-11T15:34:36.956" v="1942"/>
        <pc:sldMkLst>
          <pc:docMk/>
          <pc:sldMk cId="4293016435" sldId="2147471247"/>
        </pc:sldMkLst>
        <pc:spChg chg="add mod">
          <ac:chgData name="Milena Martinez Valenzuela" userId="be3f4e8d-1043-46cf-ba05-86ea3ca9d6fe" providerId="ADAL" clId="{99D9136B-12E8-468A-9712-3FDC53018C91}" dt="2023-12-11T15:34:36.956" v="1942"/>
          <ac:spMkLst>
            <pc:docMk/>
            <pc:sldMk cId="4293016435" sldId="2147471247"/>
            <ac:spMk id="2" creationId="{8E5597A5-CC58-3576-6398-FEDC87264D1F}"/>
          </ac:spMkLst>
        </pc:spChg>
        <pc:spChg chg="mod">
          <ac:chgData name="Milena Martinez Valenzuela" userId="be3f4e8d-1043-46cf-ba05-86ea3ca9d6fe" providerId="ADAL" clId="{99D9136B-12E8-468A-9712-3FDC53018C91}" dt="2023-12-11T14:48:32.030" v="877" actId="14100"/>
          <ac:spMkLst>
            <pc:docMk/>
            <pc:sldMk cId="4293016435" sldId="2147471247"/>
            <ac:spMk id="3" creationId="{00000000-0000-0000-0000-000000000000}"/>
          </ac:spMkLst>
        </pc:spChg>
        <pc:spChg chg="del">
          <ac:chgData name="Milena Martinez Valenzuela" userId="be3f4e8d-1043-46cf-ba05-86ea3ca9d6fe" providerId="ADAL" clId="{99D9136B-12E8-468A-9712-3FDC53018C91}" dt="2023-12-11T15:34:36.139" v="1941" actId="478"/>
          <ac:spMkLst>
            <pc:docMk/>
            <pc:sldMk cId="4293016435" sldId="2147471247"/>
            <ac:spMk id="4" creationId="{E80D9CDD-6DFC-C0CF-C805-42C8B267A2CD}"/>
          </ac:spMkLst>
        </pc:spChg>
        <pc:spChg chg="mod">
          <ac:chgData name="Milena Martinez Valenzuela" userId="be3f4e8d-1043-46cf-ba05-86ea3ca9d6fe" providerId="ADAL" clId="{99D9136B-12E8-468A-9712-3FDC53018C91}" dt="2023-12-11T14:48:02.842" v="868" actId="1037"/>
          <ac:spMkLst>
            <pc:docMk/>
            <pc:sldMk cId="4293016435" sldId="2147471247"/>
            <ac:spMk id="5" creationId="{A831AEE5-2A11-D47F-B7E7-F2F82B117773}"/>
          </ac:spMkLst>
        </pc:spChg>
        <pc:spChg chg="add mod">
          <ac:chgData name="Milena Martinez Valenzuela" userId="be3f4e8d-1043-46cf-ba05-86ea3ca9d6fe" providerId="ADAL" clId="{99D9136B-12E8-468A-9712-3FDC53018C91}" dt="2023-12-11T15:34:36.956" v="1942"/>
          <ac:spMkLst>
            <pc:docMk/>
            <pc:sldMk cId="4293016435" sldId="2147471247"/>
            <ac:spMk id="6" creationId="{584791A0-A50F-778A-C577-71894AC021E5}"/>
          </ac:spMkLst>
        </pc:spChg>
        <pc:spChg chg="del">
          <ac:chgData name="Milena Martinez Valenzuela" userId="be3f4e8d-1043-46cf-ba05-86ea3ca9d6fe" providerId="ADAL" clId="{99D9136B-12E8-468A-9712-3FDC53018C91}" dt="2023-12-11T15:34:36.139" v="1941" actId="478"/>
          <ac:spMkLst>
            <pc:docMk/>
            <pc:sldMk cId="4293016435" sldId="2147471247"/>
            <ac:spMk id="7" creationId="{F61902C3-6183-B416-30C0-92FA1CA72255}"/>
          </ac:spMkLst>
        </pc:spChg>
        <pc:extLst>
          <p:ext xmlns:p="http://schemas.openxmlformats.org/presentationml/2006/main" uri="{D6D511B9-2390-475A-947B-AFAB55BFBCF1}">
            <pc226:cmChg xmlns:pc226="http://schemas.microsoft.com/office/powerpoint/2022/06/main/command" chg="mod">
              <pc226:chgData name="Milena Martinez Valenzuela" userId="be3f4e8d-1043-46cf-ba05-86ea3ca9d6fe" providerId="ADAL" clId="{99D9136B-12E8-468A-9712-3FDC53018C91}" dt="2023-12-11T14:48:18.704" v="874" actId="20577"/>
              <pc2:cmMkLst xmlns:pc2="http://schemas.microsoft.com/office/powerpoint/2019/9/main/command">
                <pc:docMk/>
                <pc:sldMk cId="4293016435" sldId="2147471247"/>
                <pc2:cmMk id="{74340615-8C1A-49CA-BD29-4998895AE4C4}"/>
              </pc2:cmMkLst>
            </pc226:cmChg>
          </p:ext>
        </pc:extLst>
      </pc:sldChg>
      <pc:sldChg chg="addSp delSp modSp mod">
        <pc:chgData name="Milena Martinez Valenzuela" userId="be3f4e8d-1043-46cf-ba05-86ea3ca9d6fe" providerId="ADAL" clId="{99D9136B-12E8-468A-9712-3FDC53018C91}" dt="2023-12-11T15:34:56.527" v="1950" actId="120"/>
        <pc:sldMkLst>
          <pc:docMk/>
          <pc:sldMk cId="1988382518" sldId="2147471251"/>
        </pc:sldMkLst>
        <pc:spChg chg="add mod">
          <ac:chgData name="Milena Martinez Valenzuela" userId="be3f4e8d-1043-46cf-ba05-86ea3ca9d6fe" providerId="ADAL" clId="{99D9136B-12E8-468A-9712-3FDC53018C91}" dt="2023-12-11T15:34:48.709" v="1948"/>
          <ac:spMkLst>
            <pc:docMk/>
            <pc:sldMk cId="1988382518" sldId="2147471251"/>
            <ac:spMk id="2" creationId="{527151A5-48A4-09A7-E254-E20C925B51D3}"/>
          </ac:spMkLst>
        </pc:spChg>
        <pc:spChg chg="mod">
          <ac:chgData name="Milena Martinez Valenzuela" userId="be3f4e8d-1043-46cf-ba05-86ea3ca9d6fe" providerId="ADAL" clId="{99D9136B-12E8-468A-9712-3FDC53018C91}" dt="2023-12-11T15:34:56.527" v="1950" actId="120"/>
          <ac:spMkLst>
            <pc:docMk/>
            <pc:sldMk cId="1988382518" sldId="2147471251"/>
            <ac:spMk id="3" creationId="{00000000-0000-0000-0000-000000000000}"/>
          </ac:spMkLst>
        </pc:spChg>
        <pc:spChg chg="del">
          <ac:chgData name="Milena Martinez Valenzuela" userId="be3f4e8d-1043-46cf-ba05-86ea3ca9d6fe" providerId="ADAL" clId="{99D9136B-12E8-468A-9712-3FDC53018C91}" dt="2023-12-11T15:34:47.684" v="1947" actId="478"/>
          <ac:spMkLst>
            <pc:docMk/>
            <pc:sldMk cId="1988382518" sldId="2147471251"/>
            <ac:spMk id="4" creationId="{E80D9CDD-6DFC-C0CF-C805-42C8B267A2CD}"/>
          </ac:spMkLst>
        </pc:spChg>
        <pc:spChg chg="mod">
          <ac:chgData name="Milena Martinez Valenzuela" userId="be3f4e8d-1043-46cf-ba05-86ea3ca9d6fe" providerId="ADAL" clId="{99D9136B-12E8-468A-9712-3FDC53018C91}" dt="2023-12-11T14:49:43.435" v="912" actId="1076"/>
          <ac:spMkLst>
            <pc:docMk/>
            <pc:sldMk cId="1988382518" sldId="2147471251"/>
            <ac:spMk id="5" creationId="{A831AEE5-2A11-D47F-B7E7-F2F82B117773}"/>
          </ac:spMkLst>
        </pc:spChg>
        <pc:spChg chg="add mod">
          <ac:chgData name="Milena Martinez Valenzuela" userId="be3f4e8d-1043-46cf-ba05-86ea3ca9d6fe" providerId="ADAL" clId="{99D9136B-12E8-468A-9712-3FDC53018C91}" dt="2023-12-11T15:34:48.709" v="1948"/>
          <ac:spMkLst>
            <pc:docMk/>
            <pc:sldMk cId="1988382518" sldId="2147471251"/>
            <ac:spMk id="6" creationId="{ECFCE16D-A09E-0F70-7DC9-91EB060F3833}"/>
          </ac:spMkLst>
        </pc:spChg>
        <pc:spChg chg="del">
          <ac:chgData name="Milena Martinez Valenzuela" userId="be3f4e8d-1043-46cf-ba05-86ea3ca9d6fe" providerId="ADAL" clId="{99D9136B-12E8-468A-9712-3FDC53018C91}" dt="2023-12-11T15:34:47.684" v="1947" actId="478"/>
          <ac:spMkLst>
            <pc:docMk/>
            <pc:sldMk cId="1988382518" sldId="2147471251"/>
            <ac:spMk id="7" creationId="{F61902C3-6183-B416-30C0-92FA1CA72255}"/>
          </ac:spMkLst>
        </pc:spChg>
      </pc:sldChg>
      <pc:sldChg chg="addSp delSp modSp mod modCm">
        <pc:chgData name="Milena Martinez Valenzuela" userId="be3f4e8d-1043-46cf-ba05-86ea3ca9d6fe" providerId="ADAL" clId="{99D9136B-12E8-468A-9712-3FDC53018C91}" dt="2023-12-11T15:34:41.893" v="1944"/>
        <pc:sldMkLst>
          <pc:docMk/>
          <pc:sldMk cId="3022009777" sldId="2147471253"/>
        </pc:sldMkLst>
        <pc:spChg chg="add mod">
          <ac:chgData name="Milena Martinez Valenzuela" userId="be3f4e8d-1043-46cf-ba05-86ea3ca9d6fe" providerId="ADAL" clId="{99D9136B-12E8-468A-9712-3FDC53018C91}" dt="2023-12-11T15:34:41.893" v="1944"/>
          <ac:spMkLst>
            <pc:docMk/>
            <pc:sldMk cId="3022009777" sldId="2147471253"/>
            <ac:spMk id="2" creationId="{A1A4EC24-81FD-A24D-6D89-3B928E0187A1}"/>
          </ac:spMkLst>
        </pc:spChg>
        <pc:spChg chg="mod">
          <ac:chgData name="Milena Martinez Valenzuela" userId="be3f4e8d-1043-46cf-ba05-86ea3ca9d6fe" providerId="ADAL" clId="{99D9136B-12E8-468A-9712-3FDC53018C91}" dt="2023-12-11T14:49:01.134" v="889" actId="20577"/>
          <ac:spMkLst>
            <pc:docMk/>
            <pc:sldMk cId="3022009777" sldId="2147471253"/>
            <ac:spMk id="3" creationId="{00000000-0000-0000-0000-000000000000}"/>
          </ac:spMkLst>
        </pc:spChg>
        <pc:spChg chg="del">
          <ac:chgData name="Milena Martinez Valenzuela" userId="be3f4e8d-1043-46cf-ba05-86ea3ca9d6fe" providerId="ADAL" clId="{99D9136B-12E8-468A-9712-3FDC53018C91}" dt="2023-12-11T15:34:40.925" v="1943" actId="478"/>
          <ac:spMkLst>
            <pc:docMk/>
            <pc:sldMk cId="3022009777" sldId="2147471253"/>
            <ac:spMk id="4" creationId="{E80D9CDD-6DFC-C0CF-C805-42C8B267A2CD}"/>
          </ac:spMkLst>
        </pc:spChg>
        <pc:spChg chg="mod">
          <ac:chgData name="Milena Martinez Valenzuela" userId="be3f4e8d-1043-46cf-ba05-86ea3ca9d6fe" providerId="ADAL" clId="{99D9136B-12E8-468A-9712-3FDC53018C91}" dt="2023-12-11T14:48:40.066" v="879" actId="1076"/>
          <ac:spMkLst>
            <pc:docMk/>
            <pc:sldMk cId="3022009777" sldId="2147471253"/>
            <ac:spMk id="5" creationId="{A831AEE5-2A11-D47F-B7E7-F2F82B117773}"/>
          </ac:spMkLst>
        </pc:spChg>
        <pc:spChg chg="add mod">
          <ac:chgData name="Milena Martinez Valenzuela" userId="be3f4e8d-1043-46cf-ba05-86ea3ca9d6fe" providerId="ADAL" clId="{99D9136B-12E8-468A-9712-3FDC53018C91}" dt="2023-12-11T15:34:41.893" v="1944"/>
          <ac:spMkLst>
            <pc:docMk/>
            <pc:sldMk cId="3022009777" sldId="2147471253"/>
            <ac:spMk id="6" creationId="{DCF3604E-93F7-8AAF-6547-5A91A9FA12AC}"/>
          </ac:spMkLst>
        </pc:spChg>
        <pc:spChg chg="del">
          <ac:chgData name="Milena Martinez Valenzuela" userId="be3f4e8d-1043-46cf-ba05-86ea3ca9d6fe" providerId="ADAL" clId="{99D9136B-12E8-468A-9712-3FDC53018C91}" dt="2023-12-11T15:34:40.925" v="1943" actId="478"/>
          <ac:spMkLst>
            <pc:docMk/>
            <pc:sldMk cId="3022009777" sldId="2147471253"/>
            <ac:spMk id="7" creationId="{F61902C3-6183-B416-30C0-92FA1CA72255}"/>
          </ac:spMkLst>
        </pc:spChg>
        <pc:extLst>
          <p:ext xmlns:p="http://schemas.openxmlformats.org/presentationml/2006/main" uri="{D6D511B9-2390-475A-947B-AFAB55BFBCF1}">
            <pc226:cmChg xmlns:pc226="http://schemas.microsoft.com/office/powerpoint/2022/06/main/command" chg="mod">
              <pc226:chgData name="Milena Martinez Valenzuela" userId="be3f4e8d-1043-46cf-ba05-86ea3ca9d6fe" providerId="ADAL" clId="{99D9136B-12E8-468A-9712-3FDC53018C91}" dt="2023-12-11T14:49:01.134" v="889" actId="20577"/>
              <pc2:cmMkLst xmlns:pc2="http://schemas.microsoft.com/office/powerpoint/2019/9/main/command">
                <pc:docMk/>
                <pc:sldMk cId="3022009777" sldId="2147471253"/>
                <pc2:cmMk id="{34C88E09-B809-4845-BB4E-F75588264E87}"/>
              </pc2:cmMkLst>
            </pc226:cmChg>
          </p:ext>
        </pc:extLst>
      </pc:sldChg>
      <pc:sldChg chg="modSp mod">
        <pc:chgData name="Milena Martinez Valenzuela" userId="be3f4e8d-1043-46cf-ba05-86ea3ca9d6fe" providerId="ADAL" clId="{99D9136B-12E8-468A-9712-3FDC53018C91}" dt="2023-12-11T14:47:01.417" v="825" actId="255"/>
        <pc:sldMkLst>
          <pc:docMk/>
          <pc:sldMk cId="2876611663" sldId="2147471254"/>
        </pc:sldMkLst>
        <pc:spChg chg="mod">
          <ac:chgData name="Milena Martinez Valenzuela" userId="be3f4e8d-1043-46cf-ba05-86ea3ca9d6fe" providerId="ADAL" clId="{99D9136B-12E8-468A-9712-3FDC53018C91}" dt="2023-12-11T14:47:01.417" v="825" actId="255"/>
          <ac:spMkLst>
            <pc:docMk/>
            <pc:sldMk cId="2876611663" sldId="2147471254"/>
            <ac:spMk id="2" creationId="{36E6127E-B698-1C4C-3FEC-34338C0E05F0}"/>
          </ac:spMkLst>
        </pc:spChg>
        <pc:spChg chg="mod">
          <ac:chgData name="Milena Martinez Valenzuela" userId="be3f4e8d-1043-46cf-ba05-86ea3ca9d6fe" providerId="ADAL" clId="{99D9136B-12E8-468A-9712-3FDC53018C91}" dt="2023-12-11T14:46:42.867" v="819" actId="1037"/>
          <ac:spMkLst>
            <pc:docMk/>
            <pc:sldMk cId="2876611663" sldId="2147471254"/>
            <ac:spMk id="5" creationId="{A831AEE5-2A11-D47F-B7E7-F2F82B117773}"/>
          </ac:spMkLst>
        </pc:spChg>
      </pc:sldChg>
      <pc:sldChg chg="addSp delSp modSp mod">
        <pc:chgData name="Milena Martinez Valenzuela" userId="be3f4e8d-1043-46cf-ba05-86ea3ca9d6fe" providerId="ADAL" clId="{99D9136B-12E8-468A-9712-3FDC53018C91}" dt="2023-12-11T15:35:24.646" v="1960"/>
        <pc:sldMkLst>
          <pc:docMk/>
          <pc:sldMk cId="2355769858" sldId="2147471255"/>
        </pc:sldMkLst>
        <pc:spChg chg="mod">
          <ac:chgData name="Milena Martinez Valenzuela" userId="be3f4e8d-1043-46cf-ba05-86ea3ca9d6fe" providerId="ADAL" clId="{99D9136B-12E8-468A-9712-3FDC53018C91}" dt="2023-12-11T15:04:30.163" v="1208" actId="14100"/>
          <ac:spMkLst>
            <pc:docMk/>
            <pc:sldMk cId="2355769858" sldId="2147471255"/>
            <ac:spMk id="3" creationId="{AB7A0FBE-7D12-47C2-7CD7-B05518A42D3D}"/>
          </ac:spMkLst>
        </pc:spChg>
        <pc:spChg chg="del">
          <ac:chgData name="Milena Martinez Valenzuela" userId="be3f4e8d-1043-46cf-ba05-86ea3ca9d6fe" providerId="ADAL" clId="{99D9136B-12E8-468A-9712-3FDC53018C91}" dt="2023-12-11T15:35:23.853" v="1959" actId="478"/>
          <ac:spMkLst>
            <pc:docMk/>
            <pc:sldMk cId="2355769858" sldId="2147471255"/>
            <ac:spMk id="5" creationId="{97C0E305-EE24-FBCD-4B80-4783824CF435}"/>
          </ac:spMkLst>
        </pc:spChg>
        <pc:spChg chg="add mod">
          <ac:chgData name="Milena Martinez Valenzuela" userId="be3f4e8d-1043-46cf-ba05-86ea3ca9d6fe" providerId="ADAL" clId="{99D9136B-12E8-468A-9712-3FDC53018C91}" dt="2023-12-11T15:35:24.646" v="1960"/>
          <ac:spMkLst>
            <pc:docMk/>
            <pc:sldMk cId="2355769858" sldId="2147471255"/>
            <ac:spMk id="6" creationId="{67D2780C-33FC-D150-0A97-DE81EF4BD57A}"/>
          </ac:spMkLst>
        </pc:spChg>
        <pc:spChg chg="add mod">
          <ac:chgData name="Milena Martinez Valenzuela" userId="be3f4e8d-1043-46cf-ba05-86ea3ca9d6fe" providerId="ADAL" clId="{99D9136B-12E8-468A-9712-3FDC53018C91}" dt="2023-12-11T15:35:24.646" v="1960"/>
          <ac:spMkLst>
            <pc:docMk/>
            <pc:sldMk cId="2355769858" sldId="2147471255"/>
            <ac:spMk id="8" creationId="{5FB32622-274C-2C55-AAF4-0D9A84A66155}"/>
          </ac:spMkLst>
        </pc:spChg>
        <pc:spChg chg="del">
          <ac:chgData name="Milena Martinez Valenzuela" userId="be3f4e8d-1043-46cf-ba05-86ea3ca9d6fe" providerId="ADAL" clId="{99D9136B-12E8-468A-9712-3FDC53018C91}" dt="2023-12-11T15:35:23.853" v="1959" actId="478"/>
          <ac:spMkLst>
            <pc:docMk/>
            <pc:sldMk cId="2355769858" sldId="2147471255"/>
            <ac:spMk id="9" creationId="{8D08ADCA-BAAF-F502-F0BF-14DCED1099EE}"/>
          </ac:spMkLst>
        </pc:spChg>
        <pc:graphicFrameChg chg="mod modGraphic">
          <ac:chgData name="Milena Martinez Valenzuela" userId="be3f4e8d-1043-46cf-ba05-86ea3ca9d6fe" providerId="ADAL" clId="{99D9136B-12E8-468A-9712-3FDC53018C91}" dt="2023-12-11T15:06:58.837" v="1236" actId="207"/>
          <ac:graphicFrameMkLst>
            <pc:docMk/>
            <pc:sldMk cId="2355769858" sldId="2147471255"/>
            <ac:graphicFrameMk id="2" creationId="{2F066AC0-247D-BE52-7D02-E1FB81EC3C0A}"/>
          </ac:graphicFrameMkLst>
        </pc:graphicFrameChg>
        <pc:graphicFrameChg chg="mod modGraphic">
          <ac:chgData name="Milena Martinez Valenzuela" userId="be3f4e8d-1043-46cf-ba05-86ea3ca9d6fe" providerId="ADAL" clId="{99D9136B-12E8-468A-9712-3FDC53018C91}" dt="2023-12-11T15:07:01.631" v="1237" actId="207"/>
          <ac:graphicFrameMkLst>
            <pc:docMk/>
            <pc:sldMk cId="2355769858" sldId="2147471255"/>
            <ac:graphicFrameMk id="4" creationId="{4F399EFA-083B-1BB4-348A-415CD3500080}"/>
          </ac:graphicFrameMkLst>
        </pc:graphicFrameChg>
      </pc:sldChg>
      <pc:sldChg chg="addSp delSp modSp mod">
        <pc:chgData name="Milena Martinez Valenzuela" userId="be3f4e8d-1043-46cf-ba05-86ea3ca9d6fe" providerId="ADAL" clId="{99D9136B-12E8-468A-9712-3FDC53018C91}" dt="2023-12-11T15:34:21.837" v="1932"/>
        <pc:sldMkLst>
          <pc:docMk/>
          <pc:sldMk cId="1800313876" sldId="2147471256"/>
        </pc:sldMkLst>
        <pc:spChg chg="add mod">
          <ac:chgData name="Milena Martinez Valenzuela" userId="be3f4e8d-1043-46cf-ba05-86ea3ca9d6fe" providerId="ADAL" clId="{99D9136B-12E8-468A-9712-3FDC53018C91}" dt="2023-12-11T15:34:21.837" v="1932"/>
          <ac:spMkLst>
            <pc:docMk/>
            <pc:sldMk cId="1800313876" sldId="2147471256"/>
            <ac:spMk id="2" creationId="{FDC34E0D-C05A-4C39-03A3-E331E86C064A}"/>
          </ac:spMkLst>
        </pc:spChg>
        <pc:spChg chg="mod">
          <ac:chgData name="Milena Martinez Valenzuela" userId="be3f4e8d-1043-46cf-ba05-86ea3ca9d6fe" providerId="ADAL" clId="{99D9136B-12E8-468A-9712-3FDC53018C91}" dt="2023-12-11T14:43:48.766" v="753" actId="5793"/>
          <ac:spMkLst>
            <pc:docMk/>
            <pc:sldMk cId="1800313876" sldId="2147471256"/>
            <ac:spMk id="3" creationId="{00000000-0000-0000-0000-000000000000}"/>
          </ac:spMkLst>
        </pc:spChg>
        <pc:spChg chg="add mod">
          <ac:chgData name="Milena Martinez Valenzuela" userId="be3f4e8d-1043-46cf-ba05-86ea3ca9d6fe" providerId="ADAL" clId="{99D9136B-12E8-468A-9712-3FDC53018C91}" dt="2023-12-11T15:34:21.837" v="1932"/>
          <ac:spMkLst>
            <pc:docMk/>
            <pc:sldMk cId="1800313876" sldId="2147471256"/>
            <ac:spMk id="4" creationId="{37B5CF46-08DB-5BC8-5F88-69F40AE0D8C7}"/>
          </ac:spMkLst>
        </pc:spChg>
        <pc:spChg chg="mod">
          <ac:chgData name="Milena Martinez Valenzuela" userId="be3f4e8d-1043-46cf-ba05-86ea3ca9d6fe" providerId="ADAL" clId="{99D9136B-12E8-468A-9712-3FDC53018C91}" dt="2023-12-11T14:43:20.433" v="743" actId="1037"/>
          <ac:spMkLst>
            <pc:docMk/>
            <pc:sldMk cId="1800313876" sldId="2147471256"/>
            <ac:spMk id="5" creationId="{79E08035-ABAC-E57B-6A42-A2E87C2E6713}"/>
          </ac:spMkLst>
        </pc:spChg>
        <pc:spChg chg="del">
          <ac:chgData name="Milena Martinez Valenzuela" userId="be3f4e8d-1043-46cf-ba05-86ea3ca9d6fe" providerId="ADAL" clId="{99D9136B-12E8-468A-9712-3FDC53018C91}" dt="2023-12-11T15:34:21.067" v="1931" actId="478"/>
          <ac:spMkLst>
            <pc:docMk/>
            <pc:sldMk cId="1800313876" sldId="2147471256"/>
            <ac:spMk id="6" creationId="{73560195-BCE7-8CAE-49C9-0A701FE74FB6}"/>
          </ac:spMkLst>
        </pc:spChg>
        <pc:spChg chg="del">
          <ac:chgData name="Milena Martinez Valenzuela" userId="be3f4e8d-1043-46cf-ba05-86ea3ca9d6fe" providerId="ADAL" clId="{99D9136B-12E8-468A-9712-3FDC53018C91}" dt="2023-12-11T15:34:21.067" v="1931" actId="478"/>
          <ac:spMkLst>
            <pc:docMk/>
            <pc:sldMk cId="1800313876" sldId="2147471256"/>
            <ac:spMk id="8" creationId="{2B90C214-6CF1-00C9-14A1-190233C979A8}"/>
          </ac:spMkLst>
        </pc:spChg>
      </pc:sldChg>
      <pc:sldChg chg="addSp delSp modSp mod modCm">
        <pc:chgData name="Milena Martinez Valenzuela" userId="be3f4e8d-1043-46cf-ba05-86ea3ca9d6fe" providerId="ADAL" clId="{99D9136B-12E8-468A-9712-3FDC53018C91}" dt="2023-12-11T15:34:25.078" v="1934"/>
        <pc:sldMkLst>
          <pc:docMk/>
          <pc:sldMk cId="905669304" sldId="2147471257"/>
        </pc:sldMkLst>
        <pc:spChg chg="add mod">
          <ac:chgData name="Milena Martinez Valenzuela" userId="be3f4e8d-1043-46cf-ba05-86ea3ca9d6fe" providerId="ADAL" clId="{99D9136B-12E8-468A-9712-3FDC53018C91}" dt="2023-12-11T15:34:25.078" v="1934"/>
          <ac:spMkLst>
            <pc:docMk/>
            <pc:sldMk cId="905669304" sldId="2147471257"/>
            <ac:spMk id="2" creationId="{78021D8F-79FB-5548-D4CA-430400B619AC}"/>
          </ac:spMkLst>
        </pc:spChg>
        <pc:spChg chg="mod">
          <ac:chgData name="Milena Martinez Valenzuela" userId="be3f4e8d-1043-46cf-ba05-86ea3ca9d6fe" providerId="ADAL" clId="{99D9136B-12E8-468A-9712-3FDC53018C91}" dt="2023-12-11T14:44:47.541" v="775" actId="179"/>
          <ac:spMkLst>
            <pc:docMk/>
            <pc:sldMk cId="905669304" sldId="2147471257"/>
            <ac:spMk id="3" creationId="{00000000-0000-0000-0000-000000000000}"/>
          </ac:spMkLst>
        </pc:spChg>
        <pc:spChg chg="del">
          <ac:chgData name="Milena Martinez Valenzuela" userId="be3f4e8d-1043-46cf-ba05-86ea3ca9d6fe" providerId="ADAL" clId="{99D9136B-12E8-468A-9712-3FDC53018C91}" dt="2023-12-11T15:34:24.276" v="1933" actId="478"/>
          <ac:spMkLst>
            <pc:docMk/>
            <pc:sldMk cId="905669304" sldId="2147471257"/>
            <ac:spMk id="4" creationId="{1B7E999B-4723-1B87-DEAB-9947F2A56D1F}"/>
          </ac:spMkLst>
        </pc:spChg>
        <pc:spChg chg="add mod">
          <ac:chgData name="Milena Martinez Valenzuela" userId="be3f4e8d-1043-46cf-ba05-86ea3ca9d6fe" providerId="ADAL" clId="{99D9136B-12E8-468A-9712-3FDC53018C91}" dt="2023-12-11T15:34:25.078" v="1934"/>
          <ac:spMkLst>
            <pc:docMk/>
            <pc:sldMk cId="905669304" sldId="2147471257"/>
            <ac:spMk id="5" creationId="{822394F2-149C-1B3C-62D5-64D6CDC3B830}"/>
          </ac:spMkLst>
        </pc:spChg>
        <pc:spChg chg="del">
          <ac:chgData name="Milena Martinez Valenzuela" userId="be3f4e8d-1043-46cf-ba05-86ea3ca9d6fe" providerId="ADAL" clId="{99D9136B-12E8-468A-9712-3FDC53018C91}" dt="2023-12-11T15:34:24.276" v="1933" actId="478"/>
          <ac:spMkLst>
            <pc:docMk/>
            <pc:sldMk cId="905669304" sldId="2147471257"/>
            <ac:spMk id="6" creationId="{73BA71A5-993C-A75D-7DA6-568DC5657733}"/>
          </ac:spMkLst>
        </pc:spChg>
        <pc:spChg chg="mod">
          <ac:chgData name="Milena Martinez Valenzuela" userId="be3f4e8d-1043-46cf-ba05-86ea3ca9d6fe" providerId="ADAL" clId="{99D9136B-12E8-468A-9712-3FDC53018C91}" dt="2023-12-11T14:44:15.183" v="766" actId="1036"/>
          <ac:spMkLst>
            <pc:docMk/>
            <pc:sldMk cId="905669304" sldId="2147471257"/>
            <ac:spMk id="7" creationId="{03FB9D43-B474-E85B-791C-D00FAB6333BE}"/>
          </ac:spMkLst>
        </pc:spChg>
        <pc:graphicFrameChg chg="mod modGraphic">
          <ac:chgData name="Milena Martinez Valenzuela" userId="be3f4e8d-1043-46cf-ba05-86ea3ca9d6fe" providerId="ADAL" clId="{99D9136B-12E8-468A-9712-3FDC53018C91}" dt="2023-12-11T14:45:16.754" v="783" actId="207"/>
          <ac:graphicFrameMkLst>
            <pc:docMk/>
            <pc:sldMk cId="905669304" sldId="2147471257"/>
            <ac:graphicFrameMk id="9" creationId="{6049B724-A37F-D3C2-3B53-1E260A1416DA}"/>
          </ac:graphicFrameMkLst>
        </pc:graphicFrameChg>
        <pc:extLst>
          <p:ext xmlns:p="http://schemas.openxmlformats.org/presentationml/2006/main" uri="{D6D511B9-2390-475A-947B-AFAB55BFBCF1}">
            <pc226:cmChg xmlns:pc226="http://schemas.microsoft.com/office/powerpoint/2022/06/main/command" chg="mod">
              <pc226:chgData name="Milena Martinez Valenzuela" userId="be3f4e8d-1043-46cf-ba05-86ea3ca9d6fe" providerId="ADAL" clId="{99D9136B-12E8-468A-9712-3FDC53018C91}" dt="2023-12-11T14:44:06.725" v="759" actId="20577"/>
              <pc2:cmMkLst xmlns:pc2="http://schemas.microsoft.com/office/powerpoint/2019/9/main/command">
                <pc:docMk/>
                <pc:sldMk cId="905669304" sldId="2147471257"/>
                <pc2:cmMk id="{BB051470-6B4C-4E92-BF0E-93C19957AC30}"/>
              </pc2:cmMkLst>
            </pc226:cmChg>
          </p:ext>
        </pc:extLst>
      </pc:sldChg>
      <pc:sldChg chg="addSp delSp modSp mod modAnim">
        <pc:chgData name="Milena Martinez Valenzuela" userId="be3f4e8d-1043-46cf-ba05-86ea3ca9d6fe" providerId="ADAL" clId="{99D9136B-12E8-468A-9712-3FDC53018C91}" dt="2023-12-11T15:33:57.076" v="1922"/>
        <pc:sldMkLst>
          <pc:docMk/>
          <pc:sldMk cId="2951709829" sldId="2147471258"/>
        </pc:sldMkLst>
        <pc:spChg chg="mod">
          <ac:chgData name="Milena Martinez Valenzuela" userId="be3f4e8d-1043-46cf-ba05-86ea3ca9d6fe" providerId="ADAL" clId="{99D9136B-12E8-468A-9712-3FDC53018C91}" dt="2023-12-11T14:30:32.474" v="513" actId="1036"/>
          <ac:spMkLst>
            <pc:docMk/>
            <pc:sldMk cId="2951709829" sldId="2147471258"/>
            <ac:spMk id="2" creationId="{475EA3C9-3F03-3CA4-FC58-5E2F3FA20896}"/>
          </ac:spMkLst>
        </pc:spChg>
        <pc:spChg chg="del">
          <ac:chgData name="Milena Martinez Valenzuela" userId="be3f4e8d-1043-46cf-ba05-86ea3ca9d6fe" providerId="ADAL" clId="{99D9136B-12E8-468A-9712-3FDC53018C91}" dt="2023-12-11T15:33:56.220" v="1921" actId="478"/>
          <ac:spMkLst>
            <pc:docMk/>
            <pc:sldMk cId="2951709829" sldId="2147471258"/>
            <ac:spMk id="3" creationId="{7B2667B1-D601-C87C-AFAC-1ECADC650058}"/>
          </ac:spMkLst>
        </pc:spChg>
        <pc:spChg chg="mod">
          <ac:chgData name="Milena Martinez Valenzuela" userId="be3f4e8d-1043-46cf-ba05-86ea3ca9d6fe" providerId="ADAL" clId="{99D9136B-12E8-468A-9712-3FDC53018C91}" dt="2023-12-11T14:31:16.771" v="525" actId="179"/>
          <ac:spMkLst>
            <pc:docMk/>
            <pc:sldMk cId="2951709829" sldId="2147471258"/>
            <ac:spMk id="4" creationId="{00000000-0000-0000-0000-000000000000}"/>
          </ac:spMkLst>
        </pc:spChg>
        <pc:spChg chg="del">
          <ac:chgData name="Milena Martinez Valenzuela" userId="be3f4e8d-1043-46cf-ba05-86ea3ca9d6fe" providerId="ADAL" clId="{99D9136B-12E8-468A-9712-3FDC53018C91}" dt="2023-12-11T15:33:56.220" v="1921" actId="478"/>
          <ac:spMkLst>
            <pc:docMk/>
            <pc:sldMk cId="2951709829" sldId="2147471258"/>
            <ac:spMk id="5" creationId="{427BF765-D4CE-3A5C-F151-D0B68D09C63D}"/>
          </ac:spMkLst>
        </pc:spChg>
        <pc:spChg chg="add mod">
          <ac:chgData name="Milena Martinez Valenzuela" userId="be3f4e8d-1043-46cf-ba05-86ea3ca9d6fe" providerId="ADAL" clId="{99D9136B-12E8-468A-9712-3FDC53018C91}" dt="2023-12-11T15:33:57.076" v="1922"/>
          <ac:spMkLst>
            <pc:docMk/>
            <pc:sldMk cId="2951709829" sldId="2147471258"/>
            <ac:spMk id="7" creationId="{1F2AD880-83A8-DE0F-8429-39B388C285AA}"/>
          </ac:spMkLst>
        </pc:spChg>
        <pc:spChg chg="add mod">
          <ac:chgData name="Milena Martinez Valenzuela" userId="be3f4e8d-1043-46cf-ba05-86ea3ca9d6fe" providerId="ADAL" clId="{99D9136B-12E8-468A-9712-3FDC53018C91}" dt="2023-12-11T15:33:57.076" v="1922"/>
          <ac:spMkLst>
            <pc:docMk/>
            <pc:sldMk cId="2951709829" sldId="2147471258"/>
            <ac:spMk id="9" creationId="{8290B6EC-E181-8A64-AD57-554478056098}"/>
          </ac:spMkLst>
        </pc:spChg>
      </pc:sldChg>
      <pc:sldChg chg="addSp delSp modSp mod">
        <pc:chgData name="Milena Martinez Valenzuela" userId="be3f4e8d-1043-46cf-ba05-86ea3ca9d6fe" providerId="ADAL" clId="{99D9136B-12E8-468A-9712-3FDC53018C91}" dt="2023-12-11T15:34:45.540" v="1946"/>
        <pc:sldMkLst>
          <pc:docMk/>
          <pc:sldMk cId="3736298817" sldId="2147471259"/>
        </pc:sldMkLst>
        <pc:spChg chg="add mod">
          <ac:chgData name="Milena Martinez Valenzuela" userId="be3f4e8d-1043-46cf-ba05-86ea3ca9d6fe" providerId="ADAL" clId="{99D9136B-12E8-468A-9712-3FDC53018C91}" dt="2023-12-11T15:34:45.540" v="1946"/>
          <ac:spMkLst>
            <pc:docMk/>
            <pc:sldMk cId="3736298817" sldId="2147471259"/>
            <ac:spMk id="2" creationId="{275F5DC0-3949-2AD4-A5DC-9D533721E479}"/>
          </ac:spMkLst>
        </pc:spChg>
        <pc:spChg chg="mod">
          <ac:chgData name="Milena Martinez Valenzuela" userId="be3f4e8d-1043-46cf-ba05-86ea3ca9d6fe" providerId="ADAL" clId="{99D9136B-12E8-468A-9712-3FDC53018C91}" dt="2023-12-11T14:49:18.628" v="895" actId="20577"/>
          <ac:spMkLst>
            <pc:docMk/>
            <pc:sldMk cId="3736298817" sldId="2147471259"/>
            <ac:spMk id="3" creationId="{00000000-0000-0000-0000-000000000000}"/>
          </ac:spMkLst>
        </pc:spChg>
        <pc:spChg chg="del">
          <ac:chgData name="Milena Martinez Valenzuela" userId="be3f4e8d-1043-46cf-ba05-86ea3ca9d6fe" providerId="ADAL" clId="{99D9136B-12E8-468A-9712-3FDC53018C91}" dt="2023-12-11T15:34:44.755" v="1945" actId="478"/>
          <ac:spMkLst>
            <pc:docMk/>
            <pc:sldMk cId="3736298817" sldId="2147471259"/>
            <ac:spMk id="4" creationId="{E80D9CDD-6DFC-C0CF-C805-42C8B267A2CD}"/>
          </ac:spMkLst>
        </pc:spChg>
        <pc:spChg chg="add del mod">
          <ac:chgData name="Milena Martinez Valenzuela" userId="be3f4e8d-1043-46cf-ba05-86ea3ca9d6fe" providerId="ADAL" clId="{99D9136B-12E8-468A-9712-3FDC53018C91}" dt="2023-12-11T14:49:30.290" v="909" actId="14100"/>
          <ac:spMkLst>
            <pc:docMk/>
            <pc:sldMk cId="3736298817" sldId="2147471259"/>
            <ac:spMk id="5" creationId="{A831AEE5-2A11-D47F-B7E7-F2F82B117773}"/>
          </ac:spMkLst>
        </pc:spChg>
        <pc:spChg chg="add mod">
          <ac:chgData name="Milena Martinez Valenzuela" userId="be3f4e8d-1043-46cf-ba05-86ea3ca9d6fe" providerId="ADAL" clId="{99D9136B-12E8-468A-9712-3FDC53018C91}" dt="2023-12-11T15:34:45.540" v="1946"/>
          <ac:spMkLst>
            <pc:docMk/>
            <pc:sldMk cId="3736298817" sldId="2147471259"/>
            <ac:spMk id="6" creationId="{38BE0565-B136-794A-A437-BDEFEA26710B}"/>
          </ac:spMkLst>
        </pc:spChg>
        <pc:spChg chg="del">
          <ac:chgData name="Milena Martinez Valenzuela" userId="be3f4e8d-1043-46cf-ba05-86ea3ca9d6fe" providerId="ADAL" clId="{99D9136B-12E8-468A-9712-3FDC53018C91}" dt="2023-12-11T15:34:44.755" v="1945" actId="478"/>
          <ac:spMkLst>
            <pc:docMk/>
            <pc:sldMk cId="3736298817" sldId="2147471259"/>
            <ac:spMk id="7" creationId="{F61902C3-6183-B416-30C0-92FA1CA72255}"/>
          </ac:spMkLst>
        </pc:spChg>
      </pc:sldChg>
      <pc:sldChg chg="addSp delSp modSp mod setBg">
        <pc:chgData name="Milena Martinez Valenzuela" userId="be3f4e8d-1043-46cf-ba05-86ea3ca9d6fe" providerId="ADAL" clId="{99D9136B-12E8-468A-9712-3FDC53018C91}" dt="2023-12-11T15:47:40.766" v="1969"/>
        <pc:sldMkLst>
          <pc:docMk/>
          <pc:sldMk cId="727067092" sldId="2147471260"/>
        </pc:sldMkLst>
        <pc:spChg chg="del">
          <ac:chgData name="Milena Martinez Valenzuela" userId="be3f4e8d-1043-46cf-ba05-86ea3ca9d6fe" providerId="ADAL" clId="{99D9136B-12E8-468A-9712-3FDC53018C91}" dt="2023-12-11T15:06:52.219" v="1234" actId="478"/>
          <ac:spMkLst>
            <pc:docMk/>
            <pc:sldMk cId="727067092" sldId="2147471260"/>
            <ac:spMk id="3" creationId="{AB7A0FBE-7D12-47C2-7CD7-B05518A42D3D}"/>
          </ac:spMkLst>
        </pc:spChg>
        <pc:spChg chg="del">
          <ac:chgData name="Milena Martinez Valenzuela" userId="be3f4e8d-1043-46cf-ba05-86ea3ca9d6fe" providerId="ADAL" clId="{99D9136B-12E8-468A-9712-3FDC53018C91}" dt="2023-12-11T15:35:28.084" v="1961" actId="478"/>
          <ac:spMkLst>
            <pc:docMk/>
            <pc:sldMk cId="727067092" sldId="2147471260"/>
            <ac:spMk id="5" creationId="{97C0E305-EE24-FBCD-4B80-4783824CF435}"/>
          </ac:spMkLst>
        </pc:spChg>
        <pc:spChg chg="add mod">
          <ac:chgData name="Milena Martinez Valenzuela" userId="be3f4e8d-1043-46cf-ba05-86ea3ca9d6fe" providerId="ADAL" clId="{99D9136B-12E8-468A-9712-3FDC53018C91}" dt="2023-12-11T15:06:52.803" v="1235"/>
          <ac:spMkLst>
            <pc:docMk/>
            <pc:sldMk cId="727067092" sldId="2147471260"/>
            <ac:spMk id="8" creationId="{C02F0DD7-4F64-486E-2C3A-D90FFB0F3A56}"/>
          </ac:spMkLst>
        </pc:spChg>
        <pc:spChg chg="del">
          <ac:chgData name="Milena Martinez Valenzuela" userId="be3f4e8d-1043-46cf-ba05-86ea3ca9d6fe" providerId="ADAL" clId="{99D9136B-12E8-468A-9712-3FDC53018C91}" dt="2023-12-11T15:35:28.084" v="1961" actId="478"/>
          <ac:spMkLst>
            <pc:docMk/>
            <pc:sldMk cId="727067092" sldId="2147471260"/>
            <ac:spMk id="9" creationId="{8D08ADCA-BAAF-F502-F0BF-14DCED1099EE}"/>
          </ac:spMkLst>
        </pc:spChg>
        <pc:spChg chg="add mod">
          <ac:chgData name="Milena Martinez Valenzuela" userId="be3f4e8d-1043-46cf-ba05-86ea3ca9d6fe" providerId="ADAL" clId="{99D9136B-12E8-468A-9712-3FDC53018C91}" dt="2023-12-11T15:35:28.843" v="1962"/>
          <ac:spMkLst>
            <pc:docMk/>
            <pc:sldMk cId="727067092" sldId="2147471260"/>
            <ac:spMk id="10" creationId="{39A76F1F-1CDE-7B19-124B-C744041E6016}"/>
          </ac:spMkLst>
        </pc:spChg>
        <pc:spChg chg="add mod">
          <ac:chgData name="Milena Martinez Valenzuela" userId="be3f4e8d-1043-46cf-ba05-86ea3ca9d6fe" providerId="ADAL" clId="{99D9136B-12E8-468A-9712-3FDC53018C91}" dt="2023-12-11T15:35:28.843" v="1962"/>
          <ac:spMkLst>
            <pc:docMk/>
            <pc:sldMk cId="727067092" sldId="2147471260"/>
            <ac:spMk id="11" creationId="{370C570F-749D-7EE3-48B5-1574318C07DA}"/>
          </ac:spMkLst>
        </pc:spChg>
        <pc:graphicFrameChg chg="mod modGraphic">
          <ac:chgData name="Milena Martinez Valenzuela" userId="be3f4e8d-1043-46cf-ba05-86ea3ca9d6fe" providerId="ADAL" clId="{99D9136B-12E8-468A-9712-3FDC53018C91}" dt="2023-12-11T15:09:31.555" v="1279" actId="14100"/>
          <ac:graphicFrameMkLst>
            <pc:docMk/>
            <pc:sldMk cId="727067092" sldId="2147471260"/>
            <ac:graphicFrameMk id="2" creationId="{792BD675-9F69-674D-DCBE-62CA5706E06F}"/>
          </ac:graphicFrameMkLst>
        </pc:graphicFrameChg>
        <pc:graphicFrameChg chg="mod modGraphic">
          <ac:chgData name="Milena Martinez Valenzuela" userId="be3f4e8d-1043-46cf-ba05-86ea3ca9d6fe" providerId="ADAL" clId="{99D9136B-12E8-468A-9712-3FDC53018C91}" dt="2023-12-11T15:11:01.624" v="1308" actId="242"/>
          <ac:graphicFrameMkLst>
            <pc:docMk/>
            <pc:sldMk cId="727067092" sldId="2147471260"/>
            <ac:graphicFrameMk id="4" creationId="{2DD0B1E3-800E-8BD9-64EC-34326D6886D7}"/>
          </ac:graphicFrameMkLst>
        </pc:graphicFrameChg>
        <pc:graphicFrameChg chg="mod modGraphic">
          <ac:chgData name="Milena Martinez Valenzuela" userId="be3f4e8d-1043-46cf-ba05-86ea3ca9d6fe" providerId="ADAL" clId="{99D9136B-12E8-468A-9712-3FDC53018C91}" dt="2023-12-11T15:10:22.148" v="1296" actId="207"/>
          <ac:graphicFrameMkLst>
            <pc:docMk/>
            <pc:sldMk cId="727067092" sldId="2147471260"/>
            <ac:graphicFrameMk id="6" creationId="{E0F41273-9EF2-3555-7EA8-82BBDF26744C}"/>
          </ac:graphicFrameMkLst>
        </pc:graphicFrameChg>
        <pc:graphicFrameChg chg="mod modGraphic">
          <ac:chgData name="Milena Martinez Valenzuela" userId="be3f4e8d-1043-46cf-ba05-86ea3ca9d6fe" providerId="ADAL" clId="{99D9136B-12E8-468A-9712-3FDC53018C91}" dt="2023-12-11T15:09:26.931" v="1277" actId="14100"/>
          <ac:graphicFrameMkLst>
            <pc:docMk/>
            <pc:sldMk cId="727067092" sldId="2147471260"/>
            <ac:graphicFrameMk id="14" creationId="{912526FA-C5EF-D8A1-E816-EFECB5624A1D}"/>
          </ac:graphicFrameMkLst>
        </pc:graphicFrameChg>
      </pc:sldChg>
      <pc:sldMasterChg chg="setBg modSldLayout">
        <pc:chgData name="Milena Martinez Valenzuela" userId="be3f4e8d-1043-46cf-ba05-86ea3ca9d6fe" providerId="ADAL" clId="{99D9136B-12E8-468A-9712-3FDC53018C91}" dt="2023-12-11T15:47:40.766" v="1969"/>
        <pc:sldMasterMkLst>
          <pc:docMk/>
          <pc:sldMasterMk cId="626450249" sldId="2147483703"/>
        </pc:sldMasterMkLst>
        <pc:sldLayoutChg chg="setBg">
          <pc:chgData name="Milena Martinez Valenzuela" userId="be3f4e8d-1043-46cf-ba05-86ea3ca9d6fe" providerId="ADAL" clId="{99D9136B-12E8-468A-9712-3FDC53018C91}" dt="2023-12-11T15:47:40.766" v="1969"/>
          <pc:sldLayoutMkLst>
            <pc:docMk/>
            <pc:sldMasterMk cId="626450249" sldId="2147483703"/>
            <pc:sldLayoutMk cId="2880112785" sldId="2147483660"/>
          </pc:sldLayoutMkLst>
        </pc:sldLayoutChg>
        <pc:sldLayoutChg chg="setBg">
          <pc:chgData name="Milena Martinez Valenzuela" userId="be3f4e8d-1043-46cf-ba05-86ea3ca9d6fe" providerId="ADAL" clId="{99D9136B-12E8-468A-9712-3FDC53018C91}" dt="2023-12-11T15:47:40.766" v="1969"/>
          <pc:sldLayoutMkLst>
            <pc:docMk/>
            <pc:sldMasterMk cId="626450249" sldId="2147483703"/>
            <pc:sldLayoutMk cId="1865542695" sldId="2147483661"/>
          </pc:sldLayoutMkLst>
        </pc:sldLayoutChg>
        <pc:sldLayoutChg chg="setBg">
          <pc:chgData name="Milena Martinez Valenzuela" userId="be3f4e8d-1043-46cf-ba05-86ea3ca9d6fe" providerId="ADAL" clId="{99D9136B-12E8-468A-9712-3FDC53018C91}" dt="2023-12-11T15:47:40.766" v="1969"/>
          <pc:sldLayoutMkLst>
            <pc:docMk/>
            <pc:sldMasterMk cId="626450249" sldId="2147483703"/>
            <pc:sldLayoutMk cId="4174747054" sldId="2147483662"/>
          </pc:sldLayoutMkLst>
        </pc:sldLayoutChg>
        <pc:sldLayoutChg chg="setBg">
          <pc:chgData name="Milena Martinez Valenzuela" userId="be3f4e8d-1043-46cf-ba05-86ea3ca9d6fe" providerId="ADAL" clId="{99D9136B-12E8-468A-9712-3FDC53018C91}" dt="2023-12-11T15:47:40.766" v="1969"/>
          <pc:sldLayoutMkLst>
            <pc:docMk/>
            <pc:sldMasterMk cId="626450249" sldId="2147483703"/>
            <pc:sldLayoutMk cId="1959580769" sldId="2147483666"/>
          </pc:sldLayoutMkLst>
        </pc:sldLayoutChg>
        <pc:sldLayoutChg chg="setBg">
          <pc:chgData name="Milena Martinez Valenzuela" userId="be3f4e8d-1043-46cf-ba05-86ea3ca9d6fe" providerId="ADAL" clId="{99D9136B-12E8-468A-9712-3FDC53018C91}" dt="2023-12-11T15:47:40.766" v="1969"/>
          <pc:sldLayoutMkLst>
            <pc:docMk/>
            <pc:sldMasterMk cId="626450249" sldId="2147483703"/>
            <pc:sldLayoutMk cId="265613411" sldId="2147483701"/>
          </pc:sldLayoutMkLst>
        </pc:sldLayoutChg>
        <pc:sldLayoutChg chg="setBg">
          <pc:chgData name="Milena Martinez Valenzuela" userId="be3f4e8d-1043-46cf-ba05-86ea3ca9d6fe" providerId="ADAL" clId="{99D9136B-12E8-468A-9712-3FDC53018C91}" dt="2023-12-11T15:47:40.766" v="1969"/>
          <pc:sldLayoutMkLst>
            <pc:docMk/>
            <pc:sldMasterMk cId="626450249" sldId="2147483703"/>
            <pc:sldLayoutMk cId="2568274497" sldId="2147483702"/>
          </pc:sldLayoutMkLst>
        </pc:sldLayoutChg>
        <pc:sldLayoutChg chg="setBg">
          <pc:chgData name="Milena Martinez Valenzuela" userId="be3f4e8d-1043-46cf-ba05-86ea3ca9d6fe" providerId="ADAL" clId="{99D9136B-12E8-468A-9712-3FDC53018C91}" dt="2023-12-11T15:47:40.766" v="1969"/>
          <pc:sldLayoutMkLst>
            <pc:docMk/>
            <pc:sldMasterMk cId="626450249" sldId="2147483703"/>
            <pc:sldLayoutMk cId="1442382798" sldId="2147483704"/>
          </pc:sldLayoutMkLst>
        </pc:sldLayoutChg>
        <pc:sldLayoutChg chg="setBg">
          <pc:chgData name="Milena Martinez Valenzuela" userId="be3f4e8d-1043-46cf-ba05-86ea3ca9d6fe" providerId="ADAL" clId="{99D9136B-12E8-468A-9712-3FDC53018C91}" dt="2023-12-11T15:47:40.766" v="1969"/>
          <pc:sldLayoutMkLst>
            <pc:docMk/>
            <pc:sldMasterMk cId="626450249" sldId="2147483703"/>
            <pc:sldLayoutMk cId="3112143261" sldId="2147483705"/>
          </pc:sldLayoutMkLst>
        </pc:sldLayoutChg>
      </pc:sldMasterChg>
    </pc:docChg>
  </pc:docChgLst>
  <pc:docChgLst>
    <pc:chgData name="Miguel Brante Contreras" userId="753113ee-b42f-44ed-a66b-ca2d22867691" providerId="ADAL" clId="{03443E6A-EB80-456D-86FD-9E2F6556A1FF}"/>
    <pc:docChg chg="undo redo custSel addSld delSld modSld">
      <pc:chgData name="Miguel Brante Contreras" userId="753113ee-b42f-44ed-a66b-ca2d22867691" providerId="ADAL" clId="{03443E6A-EB80-456D-86FD-9E2F6556A1FF}" dt="2023-12-11T00:27:22.317" v="270" actId="47"/>
      <pc:docMkLst>
        <pc:docMk/>
      </pc:docMkLst>
      <pc:sldChg chg="modSp mod modCm">
        <pc:chgData name="Miguel Brante Contreras" userId="753113ee-b42f-44ed-a66b-ca2d22867691" providerId="ADAL" clId="{03443E6A-EB80-456D-86FD-9E2F6556A1FF}" dt="2023-12-10T22:19:07.226" v="21"/>
        <pc:sldMkLst>
          <pc:docMk/>
          <pc:sldMk cId="1286877226" sldId="282"/>
        </pc:sldMkLst>
        <pc:spChg chg="mod">
          <ac:chgData name="Miguel Brante Contreras" userId="753113ee-b42f-44ed-a66b-ca2d22867691" providerId="ADAL" clId="{03443E6A-EB80-456D-86FD-9E2F6556A1FF}" dt="2023-12-10T22:18:38.387" v="20" actId="108"/>
          <ac:spMkLst>
            <pc:docMk/>
            <pc:sldMk cId="1286877226" sldId="282"/>
            <ac:spMk id="3" creationId="{00000000-0000-0000-0000-000000000000}"/>
          </ac:spMkLst>
        </pc:spChg>
        <pc:extLst>
          <p:ext xmlns:p="http://schemas.openxmlformats.org/presentationml/2006/main" uri="{D6D511B9-2390-475A-947B-AFAB55BFBCF1}">
            <pc226:cmChg xmlns:pc226="http://schemas.microsoft.com/office/powerpoint/2022/06/main/command" chg="">
              <pc226:chgData name="Miguel Brante Contreras" userId="753113ee-b42f-44ed-a66b-ca2d22867691" providerId="ADAL" clId="{03443E6A-EB80-456D-86FD-9E2F6556A1FF}" dt="2023-12-10T22:19:07.226" v="21"/>
              <pc2:cmMkLst xmlns:pc2="http://schemas.microsoft.com/office/powerpoint/2019/9/main/command">
                <pc:docMk/>
                <pc:sldMk cId="1286877226" sldId="282"/>
                <pc2:cmMk id="{25DC0942-7CE3-4DE9-B1FF-1306C4A0011A}"/>
              </pc2:cmMkLst>
              <pc226:cmRplyChg chg="add">
                <pc226:chgData name="Miguel Brante Contreras" userId="753113ee-b42f-44ed-a66b-ca2d22867691" providerId="ADAL" clId="{03443E6A-EB80-456D-86FD-9E2F6556A1FF}" dt="2023-12-10T22:19:07.226" v="21"/>
                <pc2:cmRplyMkLst xmlns:pc2="http://schemas.microsoft.com/office/powerpoint/2019/9/main/command">
                  <pc:docMk/>
                  <pc:sldMk cId="1286877226" sldId="282"/>
                  <pc2:cmMk id="{25DC0942-7CE3-4DE9-B1FF-1306C4A0011A}"/>
                  <pc2:cmRplyMk id="{94B8CCE8-C995-4E07-B9C1-D081A323E046}"/>
                </pc2:cmRplyMkLst>
              </pc226:cmRplyChg>
            </pc226:cmChg>
          </p:ext>
        </pc:extLst>
      </pc:sldChg>
      <pc:sldChg chg="modSp mod">
        <pc:chgData name="Miguel Brante Contreras" userId="753113ee-b42f-44ed-a66b-ca2d22867691" providerId="ADAL" clId="{03443E6A-EB80-456D-86FD-9E2F6556A1FF}" dt="2023-12-10T23:54:32.162" v="94"/>
        <pc:sldMkLst>
          <pc:docMk/>
          <pc:sldMk cId="2355769858" sldId="2147471255"/>
        </pc:sldMkLst>
        <pc:graphicFrameChg chg="mod modGraphic">
          <ac:chgData name="Miguel Brante Contreras" userId="753113ee-b42f-44ed-a66b-ca2d22867691" providerId="ADAL" clId="{03443E6A-EB80-456D-86FD-9E2F6556A1FF}" dt="2023-12-10T23:54:32.162" v="94"/>
          <ac:graphicFrameMkLst>
            <pc:docMk/>
            <pc:sldMk cId="2355769858" sldId="2147471255"/>
            <ac:graphicFrameMk id="4" creationId="{4F399EFA-083B-1BB4-348A-415CD3500080}"/>
          </ac:graphicFrameMkLst>
        </pc:graphicFrameChg>
      </pc:sldChg>
      <pc:sldChg chg="addSp delSp modSp add mod delCm">
        <pc:chgData name="Miguel Brante Contreras" userId="753113ee-b42f-44ed-a66b-ca2d22867691" providerId="ADAL" clId="{03443E6A-EB80-456D-86FD-9E2F6556A1FF}" dt="2023-12-11T00:26:00.630" v="269" actId="2165"/>
        <pc:sldMkLst>
          <pc:docMk/>
          <pc:sldMk cId="727067092" sldId="2147471260"/>
        </pc:sldMkLst>
        <pc:spChg chg="mod">
          <ac:chgData name="Miguel Brante Contreras" userId="753113ee-b42f-44ed-a66b-ca2d22867691" providerId="ADAL" clId="{03443E6A-EB80-456D-86FD-9E2F6556A1FF}" dt="2023-12-10T23:51:50.835" v="70" actId="404"/>
          <ac:spMkLst>
            <pc:docMk/>
            <pc:sldMk cId="727067092" sldId="2147471260"/>
            <ac:spMk id="3" creationId="{AB7A0FBE-7D12-47C2-7CD7-B05518A42D3D}"/>
          </ac:spMkLst>
        </pc:spChg>
        <pc:spChg chg="add del">
          <ac:chgData name="Miguel Brante Contreras" userId="753113ee-b42f-44ed-a66b-ca2d22867691" providerId="ADAL" clId="{03443E6A-EB80-456D-86FD-9E2F6556A1FF}" dt="2023-12-11T00:12:14.729" v="237" actId="22"/>
          <ac:spMkLst>
            <pc:docMk/>
            <pc:sldMk cId="727067092" sldId="2147471260"/>
            <ac:spMk id="17" creationId="{9D3D82F1-84E8-8A6C-3081-A8AFE6D02244}"/>
          </ac:spMkLst>
        </pc:spChg>
        <pc:graphicFrameChg chg="del">
          <ac:chgData name="Miguel Brante Contreras" userId="753113ee-b42f-44ed-a66b-ca2d22867691" providerId="ADAL" clId="{03443E6A-EB80-456D-86FD-9E2F6556A1FF}" dt="2023-12-10T23:39:44.489" v="24" actId="478"/>
          <ac:graphicFrameMkLst>
            <pc:docMk/>
            <pc:sldMk cId="727067092" sldId="2147471260"/>
            <ac:graphicFrameMk id="2" creationId="{2F066AC0-247D-BE52-7D02-E1FB81EC3C0A}"/>
          </ac:graphicFrameMkLst>
        </pc:graphicFrameChg>
        <pc:graphicFrameChg chg="del">
          <ac:chgData name="Miguel Brante Contreras" userId="753113ee-b42f-44ed-a66b-ca2d22867691" providerId="ADAL" clId="{03443E6A-EB80-456D-86FD-9E2F6556A1FF}" dt="2023-12-10T23:39:42.223" v="23" actId="478"/>
          <ac:graphicFrameMkLst>
            <pc:docMk/>
            <pc:sldMk cId="727067092" sldId="2147471260"/>
            <ac:graphicFrameMk id="4" creationId="{4F399EFA-083B-1BB4-348A-415CD3500080}"/>
          </ac:graphicFrameMkLst>
        </pc:graphicFrameChg>
        <pc:graphicFrameChg chg="add del mod">
          <ac:chgData name="Miguel Brante Contreras" userId="753113ee-b42f-44ed-a66b-ca2d22867691" providerId="ADAL" clId="{03443E6A-EB80-456D-86FD-9E2F6556A1FF}" dt="2023-12-10T23:43:31.135" v="27"/>
          <ac:graphicFrameMkLst>
            <pc:docMk/>
            <pc:sldMk cId="727067092" sldId="2147471260"/>
            <ac:graphicFrameMk id="6" creationId="{CB31DE4B-DBDB-EAA9-B705-9A7C5EDBE477}"/>
          </ac:graphicFrameMkLst>
        </pc:graphicFrameChg>
        <pc:graphicFrameChg chg="add del mod modGraphic">
          <ac:chgData name="Miguel Brante Contreras" userId="753113ee-b42f-44ed-a66b-ca2d22867691" providerId="ADAL" clId="{03443E6A-EB80-456D-86FD-9E2F6556A1FF}" dt="2023-12-10T23:44:31.223" v="38" actId="478"/>
          <ac:graphicFrameMkLst>
            <pc:docMk/>
            <pc:sldMk cId="727067092" sldId="2147471260"/>
            <ac:graphicFrameMk id="8" creationId="{D674DBE7-6803-B351-E276-906AB6CCE213}"/>
          </ac:graphicFrameMkLst>
        </pc:graphicFrameChg>
        <pc:graphicFrameChg chg="add del mod">
          <ac:chgData name="Miguel Brante Contreras" userId="753113ee-b42f-44ed-a66b-ca2d22867691" providerId="ADAL" clId="{03443E6A-EB80-456D-86FD-9E2F6556A1FF}" dt="2023-12-10T23:45:24.309" v="40"/>
          <ac:graphicFrameMkLst>
            <pc:docMk/>
            <pc:sldMk cId="727067092" sldId="2147471260"/>
            <ac:graphicFrameMk id="10" creationId="{799E22C8-DA6C-94F2-6573-3CEAE7E822E8}"/>
          </ac:graphicFrameMkLst>
        </pc:graphicFrameChg>
        <pc:graphicFrameChg chg="add del mod modGraphic">
          <ac:chgData name="Miguel Brante Contreras" userId="753113ee-b42f-44ed-a66b-ca2d22867691" providerId="ADAL" clId="{03443E6A-EB80-456D-86FD-9E2F6556A1FF}" dt="2023-12-10T23:46:55.309" v="69" actId="478"/>
          <ac:graphicFrameMkLst>
            <pc:docMk/>
            <pc:sldMk cId="727067092" sldId="2147471260"/>
            <ac:graphicFrameMk id="11" creationId="{DE899F31-A1C9-6C4A-5E9C-9D73B86D2084}"/>
          </ac:graphicFrameMkLst>
        </pc:graphicFrameChg>
        <pc:graphicFrameChg chg="add del mod">
          <ac:chgData name="Miguel Brante Contreras" userId="753113ee-b42f-44ed-a66b-ca2d22867691" providerId="ADAL" clId="{03443E6A-EB80-456D-86FD-9E2F6556A1FF}" dt="2023-12-10T23:51:55.207" v="72"/>
          <ac:graphicFrameMkLst>
            <pc:docMk/>
            <pc:sldMk cId="727067092" sldId="2147471260"/>
            <ac:graphicFrameMk id="12" creationId="{023E714A-A3E8-A9B9-9FE2-6B2FF7881AA3}"/>
          </ac:graphicFrameMkLst>
        </pc:graphicFrameChg>
        <pc:graphicFrameChg chg="add del mod modGraphic">
          <ac:chgData name="Miguel Brante Contreras" userId="753113ee-b42f-44ed-a66b-ca2d22867691" providerId="ADAL" clId="{03443E6A-EB80-456D-86FD-9E2F6556A1FF}" dt="2023-12-10T23:53:36.141" v="85" actId="478"/>
          <ac:graphicFrameMkLst>
            <pc:docMk/>
            <pc:sldMk cId="727067092" sldId="2147471260"/>
            <ac:graphicFrameMk id="13" creationId="{C749CB84-FCFC-94AE-3A2B-826CB4D80E91}"/>
          </ac:graphicFrameMkLst>
        </pc:graphicFrameChg>
        <pc:graphicFrameChg chg="add mod modGraphic">
          <ac:chgData name="Miguel Brante Contreras" userId="753113ee-b42f-44ed-a66b-ca2d22867691" providerId="ADAL" clId="{03443E6A-EB80-456D-86FD-9E2F6556A1FF}" dt="2023-12-11T00:26:00.630" v="269" actId="2165"/>
          <ac:graphicFrameMkLst>
            <pc:docMk/>
            <pc:sldMk cId="727067092" sldId="2147471260"/>
            <ac:graphicFrameMk id="14" creationId="{912526FA-C5EF-D8A1-E816-EFECB5624A1D}"/>
          </ac:graphicFrameMkLst>
        </pc:graphicFrameChg>
        <pc:graphicFrameChg chg="add mod modGraphic">
          <ac:chgData name="Miguel Brante Contreras" userId="753113ee-b42f-44ed-a66b-ca2d22867691" providerId="ADAL" clId="{03443E6A-EB80-456D-86FD-9E2F6556A1FF}" dt="2023-12-11T00:11:59.554" v="235" actId="404"/>
          <ac:graphicFrameMkLst>
            <pc:docMk/>
            <pc:sldMk cId="727067092" sldId="2147471260"/>
            <ac:graphicFrameMk id="15" creationId="{DE9F74D8-1B02-DF08-FC0D-81AD0780257A}"/>
          </ac:graphicFrameMkLst>
        </pc:graphicFrameChg>
        <pc:extLst>
          <p:ext xmlns:p="http://schemas.openxmlformats.org/presentationml/2006/main" uri="{D6D511B9-2390-475A-947B-AFAB55BFBCF1}">
            <pc226:cmChg xmlns:pc226="http://schemas.microsoft.com/office/powerpoint/2022/06/main/command" chg="del">
              <pc226:chgData name="Miguel Brante Contreras" userId="753113ee-b42f-44ed-a66b-ca2d22867691" providerId="ADAL" clId="{03443E6A-EB80-456D-86FD-9E2F6556A1FF}" dt="2023-12-10T23:39:47.914" v="25"/>
              <pc2:cmMkLst xmlns:pc2="http://schemas.microsoft.com/office/powerpoint/2019/9/main/command">
                <pc:docMk/>
                <pc:sldMk cId="727067092" sldId="2147471260"/>
                <pc2:cmMk id="{97C70C67-9625-4D4A-B036-299BAEEC40B0}"/>
              </pc2:cmMkLst>
            </pc226:cmChg>
          </p:ext>
        </pc:extLst>
      </pc:sldChg>
      <pc:sldChg chg="addSp delSp modSp add del mod">
        <pc:chgData name="Miguel Brante Contreras" userId="753113ee-b42f-44ed-a66b-ca2d22867691" providerId="ADAL" clId="{03443E6A-EB80-456D-86FD-9E2F6556A1FF}" dt="2023-12-11T00:27:22.317" v="270" actId="47"/>
        <pc:sldMkLst>
          <pc:docMk/>
          <pc:sldMk cId="3674320861" sldId="2147471261"/>
        </pc:sldMkLst>
        <pc:graphicFrameChg chg="add del mod">
          <ac:chgData name="Miguel Brante Contreras" userId="753113ee-b42f-44ed-a66b-ca2d22867691" providerId="ADAL" clId="{03443E6A-EB80-456D-86FD-9E2F6556A1FF}" dt="2023-12-11T00:13:55.252" v="242" actId="478"/>
          <ac:graphicFrameMkLst>
            <pc:docMk/>
            <pc:sldMk cId="3674320861" sldId="2147471261"/>
            <ac:graphicFrameMk id="2" creationId="{B3AFECAC-01B1-7CB1-7F3F-87879BA016BB}"/>
          </ac:graphicFrameMkLst>
        </pc:graphicFrameChg>
        <pc:graphicFrameChg chg="del">
          <ac:chgData name="Miguel Brante Contreras" userId="753113ee-b42f-44ed-a66b-ca2d22867691" providerId="ADAL" clId="{03443E6A-EB80-456D-86FD-9E2F6556A1FF}" dt="2023-12-11T00:12:21.206" v="239" actId="478"/>
          <ac:graphicFrameMkLst>
            <pc:docMk/>
            <pc:sldMk cId="3674320861" sldId="2147471261"/>
            <ac:graphicFrameMk id="14" creationId="{912526FA-C5EF-D8A1-E816-EFECB5624A1D}"/>
          </ac:graphicFrameMkLst>
        </pc:graphicFrameChg>
        <pc:graphicFrameChg chg="del">
          <ac:chgData name="Miguel Brante Contreras" userId="753113ee-b42f-44ed-a66b-ca2d22867691" providerId="ADAL" clId="{03443E6A-EB80-456D-86FD-9E2F6556A1FF}" dt="2023-12-11T00:12:21.206" v="239" actId="478"/>
          <ac:graphicFrameMkLst>
            <pc:docMk/>
            <pc:sldMk cId="3674320861" sldId="2147471261"/>
            <ac:graphicFrameMk id="15" creationId="{DE9F74D8-1B02-DF08-FC0D-81AD0780257A}"/>
          </ac:graphicFrameMkLst>
        </pc:graphicFrameChg>
      </pc:sldChg>
    </pc:docChg>
  </pc:docChgLst>
  <pc:docChgLst>
    <pc:chgData name="Javiera Martínez Fariña" userId="faa1217a-c4f2-478c-8ba1-c3a0058911e8" providerId="ADAL" clId="{D5D99B54-D8CC-4775-B893-28EFA6276974}"/>
    <pc:docChg chg="addSld delSld modSld sldOrd">
      <pc:chgData name="Javiera Martínez Fariña" userId="faa1217a-c4f2-478c-8ba1-c3a0058911e8" providerId="ADAL" clId="{D5D99B54-D8CC-4775-B893-28EFA6276974}" dt="2023-12-11T19:57:45.582" v="489" actId="6549"/>
      <pc:docMkLst>
        <pc:docMk/>
      </pc:docMkLst>
      <pc:sldChg chg="ord">
        <pc:chgData name="Javiera Martínez Fariña" userId="faa1217a-c4f2-478c-8ba1-c3a0058911e8" providerId="ADAL" clId="{D5D99B54-D8CC-4775-B893-28EFA6276974}" dt="2023-12-11T19:47:59.732" v="1"/>
        <pc:sldMkLst>
          <pc:docMk/>
          <pc:sldMk cId="2003756454" sldId="278"/>
        </pc:sldMkLst>
      </pc:sldChg>
      <pc:sldChg chg="ord">
        <pc:chgData name="Javiera Martínez Fariña" userId="faa1217a-c4f2-478c-8ba1-c3a0058911e8" providerId="ADAL" clId="{D5D99B54-D8CC-4775-B893-28EFA6276974}" dt="2023-12-11T19:47:59.732" v="1"/>
        <pc:sldMkLst>
          <pc:docMk/>
          <pc:sldMk cId="2684714154" sldId="279"/>
        </pc:sldMkLst>
      </pc:sldChg>
      <pc:sldChg chg="modSp mod">
        <pc:chgData name="Javiera Martínez Fariña" userId="faa1217a-c4f2-478c-8ba1-c3a0058911e8" providerId="ADAL" clId="{D5D99B54-D8CC-4775-B893-28EFA6276974}" dt="2023-12-11T19:48:25.102" v="6" actId="20577"/>
        <pc:sldMkLst>
          <pc:docMk/>
          <pc:sldMk cId="1286877226" sldId="282"/>
        </pc:sldMkLst>
        <pc:spChg chg="mod">
          <ac:chgData name="Javiera Martínez Fariña" userId="faa1217a-c4f2-478c-8ba1-c3a0058911e8" providerId="ADAL" clId="{D5D99B54-D8CC-4775-B893-28EFA6276974}" dt="2023-12-11T19:48:25.102" v="6" actId="20577"/>
          <ac:spMkLst>
            <pc:docMk/>
            <pc:sldMk cId="1286877226" sldId="282"/>
            <ac:spMk id="3" creationId="{00000000-0000-0000-0000-000000000000}"/>
          </ac:spMkLst>
        </pc:spChg>
      </pc:sldChg>
      <pc:sldChg chg="modSp mod">
        <pc:chgData name="Javiera Martínez Fariña" userId="faa1217a-c4f2-478c-8ba1-c3a0058911e8" providerId="ADAL" clId="{D5D99B54-D8CC-4775-B893-28EFA6276974}" dt="2023-12-11T19:51:25.960" v="185" actId="113"/>
        <pc:sldMkLst>
          <pc:docMk/>
          <pc:sldMk cId="2006891235" sldId="2147471245"/>
        </pc:sldMkLst>
        <pc:spChg chg="mod">
          <ac:chgData name="Javiera Martínez Fariña" userId="faa1217a-c4f2-478c-8ba1-c3a0058911e8" providerId="ADAL" clId="{D5D99B54-D8CC-4775-B893-28EFA6276974}" dt="2023-12-11T19:51:25.960" v="185" actId="113"/>
          <ac:spMkLst>
            <pc:docMk/>
            <pc:sldMk cId="2006891235" sldId="2147471245"/>
            <ac:spMk id="3" creationId="{00000000-0000-0000-0000-000000000000}"/>
          </ac:spMkLst>
        </pc:spChg>
      </pc:sldChg>
      <pc:sldChg chg="modSp mod">
        <pc:chgData name="Javiera Martínez Fariña" userId="faa1217a-c4f2-478c-8ba1-c3a0058911e8" providerId="ADAL" clId="{D5D99B54-D8CC-4775-B893-28EFA6276974}" dt="2023-12-11T19:57:45.582" v="489" actId="6549"/>
        <pc:sldMkLst>
          <pc:docMk/>
          <pc:sldMk cId="4172540067" sldId="2147471246"/>
        </pc:sldMkLst>
        <pc:spChg chg="mod">
          <ac:chgData name="Javiera Martínez Fariña" userId="faa1217a-c4f2-478c-8ba1-c3a0058911e8" providerId="ADAL" clId="{D5D99B54-D8CC-4775-B893-28EFA6276974}" dt="2023-12-11T19:57:45.582" v="489" actId="6549"/>
          <ac:spMkLst>
            <pc:docMk/>
            <pc:sldMk cId="4172540067" sldId="2147471246"/>
            <ac:spMk id="3" creationId="{00000000-0000-0000-0000-000000000000}"/>
          </ac:spMkLst>
        </pc:spChg>
      </pc:sldChg>
      <pc:sldChg chg="modSp mod ord">
        <pc:chgData name="Javiera Martínez Fariña" userId="faa1217a-c4f2-478c-8ba1-c3a0058911e8" providerId="ADAL" clId="{D5D99B54-D8CC-4775-B893-28EFA6276974}" dt="2023-12-11T19:54:04.604" v="398" actId="20577"/>
        <pc:sldMkLst>
          <pc:docMk/>
          <pc:sldMk cId="4293016435" sldId="2147471247"/>
        </pc:sldMkLst>
        <pc:spChg chg="mod">
          <ac:chgData name="Javiera Martínez Fariña" userId="faa1217a-c4f2-478c-8ba1-c3a0058911e8" providerId="ADAL" clId="{D5D99B54-D8CC-4775-B893-28EFA6276974}" dt="2023-12-11T19:54:04.604" v="398" actId="20577"/>
          <ac:spMkLst>
            <pc:docMk/>
            <pc:sldMk cId="4293016435" sldId="2147471247"/>
            <ac:spMk id="3" creationId="{00000000-0000-0000-0000-000000000000}"/>
          </ac:spMkLst>
        </pc:spChg>
      </pc:sldChg>
      <pc:sldChg chg="modSp mod">
        <pc:chgData name="Javiera Martínez Fariña" userId="faa1217a-c4f2-478c-8ba1-c3a0058911e8" providerId="ADAL" clId="{D5D99B54-D8CC-4775-B893-28EFA6276974}" dt="2023-12-11T19:54:40.703" v="446" actId="20577"/>
        <pc:sldMkLst>
          <pc:docMk/>
          <pc:sldMk cId="1988382518" sldId="2147471251"/>
        </pc:sldMkLst>
        <pc:spChg chg="mod">
          <ac:chgData name="Javiera Martínez Fariña" userId="faa1217a-c4f2-478c-8ba1-c3a0058911e8" providerId="ADAL" clId="{D5D99B54-D8CC-4775-B893-28EFA6276974}" dt="2023-12-11T19:54:40.703" v="446" actId="20577"/>
          <ac:spMkLst>
            <pc:docMk/>
            <pc:sldMk cId="1988382518" sldId="2147471251"/>
            <ac:spMk id="3" creationId="{00000000-0000-0000-0000-000000000000}"/>
          </ac:spMkLst>
        </pc:spChg>
      </pc:sldChg>
      <pc:sldChg chg="modSp del mod modCm">
        <pc:chgData name="Javiera Martínez Fariña" userId="faa1217a-c4f2-478c-8ba1-c3a0058911e8" providerId="ADAL" clId="{D5D99B54-D8CC-4775-B893-28EFA6276974}" dt="2023-12-11T19:53:52.399" v="393" actId="47"/>
        <pc:sldMkLst>
          <pc:docMk/>
          <pc:sldMk cId="3022009777" sldId="2147471253"/>
        </pc:sldMkLst>
        <pc:spChg chg="mod">
          <ac:chgData name="Javiera Martínez Fariña" userId="faa1217a-c4f2-478c-8ba1-c3a0058911e8" providerId="ADAL" clId="{D5D99B54-D8CC-4775-B893-28EFA6276974}" dt="2023-12-11T19:53:31.647" v="367" actId="21"/>
          <ac:spMkLst>
            <pc:docMk/>
            <pc:sldMk cId="3022009777" sldId="2147471253"/>
            <ac:spMk id="3" creationId="{00000000-0000-0000-0000-000000000000}"/>
          </ac:spMkLst>
        </pc:spChg>
        <pc:extLst>
          <p:ext xmlns:p="http://schemas.openxmlformats.org/presentationml/2006/main" uri="{D6D511B9-2390-475A-947B-AFAB55BFBCF1}">
            <pc226:cmChg xmlns:pc226="http://schemas.microsoft.com/office/powerpoint/2022/06/main/command" chg="mod">
              <pc226:chgData name="Javiera Martínez Fariña" userId="faa1217a-c4f2-478c-8ba1-c3a0058911e8" providerId="ADAL" clId="{D5D99B54-D8CC-4775-B893-28EFA6276974}" dt="2023-12-11T19:53:31.647" v="367" actId="21"/>
              <pc2:cmMkLst xmlns:pc2="http://schemas.microsoft.com/office/powerpoint/2019/9/main/command">
                <pc:docMk/>
                <pc:sldMk cId="3022009777" sldId="2147471253"/>
                <pc2:cmMk id="{34C88E09-B809-4845-BB4E-F75588264E87}"/>
              </pc2:cmMkLst>
            </pc226:cmChg>
          </p:ext>
        </pc:extLst>
      </pc:sldChg>
      <pc:sldChg chg="modSp del mod">
        <pc:chgData name="Javiera Martínez Fariña" userId="faa1217a-c4f2-478c-8ba1-c3a0058911e8" providerId="ADAL" clId="{D5D99B54-D8CC-4775-B893-28EFA6276974}" dt="2023-12-11T19:48:29.041" v="7" actId="47"/>
        <pc:sldMkLst>
          <pc:docMk/>
          <pc:sldMk cId="1800313876" sldId="2147471256"/>
        </pc:sldMkLst>
        <pc:spChg chg="mod">
          <ac:chgData name="Javiera Martínez Fariña" userId="faa1217a-c4f2-478c-8ba1-c3a0058911e8" providerId="ADAL" clId="{D5D99B54-D8CC-4775-B893-28EFA6276974}" dt="2023-12-11T19:48:21.190" v="2" actId="21"/>
          <ac:spMkLst>
            <pc:docMk/>
            <pc:sldMk cId="1800313876" sldId="2147471256"/>
            <ac:spMk id="3" creationId="{00000000-0000-0000-0000-000000000000}"/>
          </ac:spMkLst>
        </pc:spChg>
      </pc:sldChg>
      <pc:sldChg chg="modSp mod">
        <pc:chgData name="Javiera Martínez Fariña" userId="faa1217a-c4f2-478c-8ba1-c3a0058911e8" providerId="ADAL" clId="{D5D99B54-D8CC-4775-B893-28EFA6276974}" dt="2023-12-11T19:49:35.851" v="59" actId="108"/>
        <pc:sldMkLst>
          <pc:docMk/>
          <pc:sldMk cId="905669304" sldId="2147471257"/>
        </pc:sldMkLst>
        <pc:spChg chg="mod">
          <ac:chgData name="Javiera Martínez Fariña" userId="faa1217a-c4f2-478c-8ba1-c3a0058911e8" providerId="ADAL" clId="{D5D99B54-D8CC-4775-B893-28EFA6276974}" dt="2023-12-11T19:49:35.851" v="59" actId="108"/>
          <ac:spMkLst>
            <pc:docMk/>
            <pc:sldMk cId="905669304" sldId="2147471257"/>
            <ac:spMk id="3" creationId="{00000000-0000-0000-0000-000000000000}"/>
          </ac:spMkLst>
        </pc:spChg>
      </pc:sldChg>
      <pc:sldChg chg="modSp del mod">
        <pc:chgData name="Javiera Martínez Fariña" userId="faa1217a-c4f2-478c-8ba1-c3a0058911e8" providerId="ADAL" clId="{D5D99B54-D8CC-4775-B893-28EFA6276974}" dt="2023-12-11T19:54:27.113" v="408" actId="47"/>
        <pc:sldMkLst>
          <pc:docMk/>
          <pc:sldMk cId="3736298817" sldId="2147471259"/>
        </pc:sldMkLst>
        <pc:spChg chg="mod">
          <ac:chgData name="Javiera Martínez Fariña" userId="faa1217a-c4f2-478c-8ba1-c3a0058911e8" providerId="ADAL" clId="{D5D99B54-D8CC-4775-B893-28EFA6276974}" dt="2023-12-11T19:54:11.710" v="399" actId="21"/>
          <ac:spMkLst>
            <pc:docMk/>
            <pc:sldMk cId="3736298817" sldId="2147471259"/>
            <ac:spMk id="3" creationId="{00000000-0000-0000-0000-000000000000}"/>
          </ac:spMkLst>
        </pc:spChg>
      </pc:sldChg>
      <pc:sldChg chg="modSp add mod ord">
        <pc:chgData name="Javiera Martínez Fariña" userId="faa1217a-c4f2-478c-8ba1-c3a0058911e8" providerId="ADAL" clId="{D5D99B54-D8CC-4775-B893-28EFA6276974}" dt="2023-12-11T19:55:13.534" v="482" actId="20577"/>
        <pc:sldMkLst>
          <pc:docMk/>
          <pc:sldMk cId="3126906573" sldId="2147471262"/>
        </pc:sldMkLst>
        <pc:spChg chg="mod">
          <ac:chgData name="Javiera Martínez Fariña" userId="faa1217a-c4f2-478c-8ba1-c3a0058911e8" providerId="ADAL" clId="{D5D99B54-D8CC-4775-B893-28EFA6276974}" dt="2023-12-11T19:55:13.534" v="482" actId="20577"/>
          <ac:spMkLst>
            <pc:docMk/>
            <pc:sldMk cId="3126906573" sldId="2147471262"/>
            <ac:spMk id="3" creationId="{00000000-0000-0000-0000-000000000000}"/>
          </ac:spMkLst>
        </pc:spChg>
      </pc:sldChg>
    </pc:docChg>
  </pc:docChgLst>
  <pc:docChgLst>
    <pc:chgData name="Camila Ureta Retamal" userId="9e43d308-f9b9-424e-930e-4fecdfda30a4" providerId="ADAL" clId="{9EF4ECF5-603B-47C8-A24D-F21528D4FB84}"/>
    <pc:docChg chg="modSld">
      <pc:chgData name="Camila Ureta Retamal" userId="9e43d308-f9b9-424e-930e-4fecdfda30a4" providerId="ADAL" clId="{9EF4ECF5-603B-47C8-A24D-F21528D4FB84}" dt="2023-12-11T18:07:14.940" v="4" actId="20577"/>
      <pc:docMkLst>
        <pc:docMk/>
      </pc:docMkLst>
      <pc:sldChg chg="modSp mod">
        <pc:chgData name="Camila Ureta Retamal" userId="9e43d308-f9b9-424e-930e-4fecdfda30a4" providerId="ADAL" clId="{9EF4ECF5-603B-47C8-A24D-F21528D4FB84}" dt="2023-12-11T17:59:43.574" v="0" actId="20577"/>
        <pc:sldMkLst>
          <pc:docMk/>
          <pc:sldMk cId="661125719" sldId="286"/>
        </pc:sldMkLst>
        <pc:spChg chg="mod">
          <ac:chgData name="Camila Ureta Retamal" userId="9e43d308-f9b9-424e-930e-4fecdfda30a4" providerId="ADAL" clId="{9EF4ECF5-603B-47C8-A24D-F21528D4FB84}" dt="2023-12-11T17:59:43.574" v="0" actId="20577"/>
          <ac:spMkLst>
            <pc:docMk/>
            <pc:sldMk cId="661125719" sldId="286"/>
            <ac:spMk id="14" creationId="{CE5F27C9-AB1A-6BA8-2C3A-EBF09FA5B280}"/>
          </ac:spMkLst>
        </pc:spChg>
      </pc:sldChg>
      <pc:sldChg chg="modSp mod">
        <pc:chgData name="Camila Ureta Retamal" userId="9e43d308-f9b9-424e-930e-4fecdfda30a4" providerId="ADAL" clId="{9EF4ECF5-603B-47C8-A24D-F21528D4FB84}" dt="2023-12-11T18:06:16.114" v="2" actId="20577"/>
        <pc:sldMkLst>
          <pc:docMk/>
          <pc:sldMk cId="946714700" sldId="10404"/>
        </pc:sldMkLst>
        <pc:spChg chg="mod">
          <ac:chgData name="Camila Ureta Retamal" userId="9e43d308-f9b9-424e-930e-4fecdfda30a4" providerId="ADAL" clId="{9EF4ECF5-603B-47C8-A24D-F21528D4FB84}" dt="2023-12-11T18:06:16.114" v="2" actId="20577"/>
          <ac:spMkLst>
            <pc:docMk/>
            <pc:sldMk cId="946714700" sldId="10404"/>
            <ac:spMk id="29" creationId="{7DC93321-C461-9B1A-1C4B-25996F34EAE7}"/>
          </ac:spMkLst>
        </pc:spChg>
      </pc:sldChg>
      <pc:sldChg chg="modSp mod">
        <pc:chgData name="Camila Ureta Retamal" userId="9e43d308-f9b9-424e-930e-4fecdfda30a4" providerId="ADAL" clId="{9EF4ECF5-603B-47C8-A24D-F21528D4FB84}" dt="2023-12-11T18:07:14.940" v="4" actId="20577"/>
        <pc:sldMkLst>
          <pc:docMk/>
          <pc:sldMk cId="727067092" sldId="2147471260"/>
        </pc:sldMkLst>
        <pc:graphicFrameChg chg="modGraphic">
          <ac:chgData name="Camila Ureta Retamal" userId="9e43d308-f9b9-424e-930e-4fecdfda30a4" providerId="ADAL" clId="{9EF4ECF5-603B-47C8-A24D-F21528D4FB84}" dt="2023-12-11T18:07:14.940" v="4" actId="20577"/>
          <ac:graphicFrameMkLst>
            <pc:docMk/>
            <pc:sldMk cId="727067092" sldId="2147471260"/>
            <ac:graphicFrameMk id="14" creationId="{912526FA-C5EF-D8A1-E816-EFECB5624A1D}"/>
          </ac:graphicFrameMkLst>
        </pc:graphicFrameChg>
      </pc:sldChg>
    </pc:docChg>
  </pc:docChgLst>
  <pc:docChgLst>
    <pc:chgData name="Milena Martinez Valenzuela" userId="S::mvalenzuela@dipres.gob.cl::be3f4e8d-1043-46cf-ba05-86ea3ca9d6fe" providerId="AD" clId="Web-{F3D7A565-BC21-C817-6D1B-9D4DCC88053B}"/>
    <pc:docChg chg="modSld">
      <pc:chgData name="Milena Martinez Valenzuela" userId="S::mvalenzuela@dipres.gob.cl::be3f4e8d-1043-46cf-ba05-86ea3ca9d6fe" providerId="AD" clId="Web-{F3D7A565-BC21-C817-6D1B-9D4DCC88053B}" dt="2023-12-11T19:07:19.348" v="6"/>
      <pc:docMkLst>
        <pc:docMk/>
      </pc:docMkLst>
      <pc:sldChg chg="addSp delSp modCm">
        <pc:chgData name="Milena Martinez Valenzuela" userId="S::mvalenzuela@dipres.gob.cl::be3f4e8d-1043-46cf-ba05-86ea3ca9d6fe" providerId="AD" clId="Web-{F3D7A565-BC21-C817-6D1B-9D4DCC88053B}" dt="2023-12-11T19:07:19.348" v="6"/>
        <pc:sldMkLst>
          <pc:docMk/>
          <pc:sldMk cId="2628919268" sldId="10684"/>
        </pc:sldMkLst>
        <pc:spChg chg="del">
          <ac:chgData name="Milena Martinez Valenzuela" userId="S::mvalenzuela@dipres.gob.cl::be3f4e8d-1043-46cf-ba05-86ea3ca9d6fe" providerId="AD" clId="Web-{F3D7A565-BC21-C817-6D1B-9D4DCC88053B}" dt="2023-12-11T19:06:59.644" v="1"/>
          <ac:spMkLst>
            <pc:docMk/>
            <pc:sldMk cId="2628919268" sldId="10684"/>
            <ac:spMk id="4" creationId="{046104BF-AB36-C733-0CBB-39F924587F4A}"/>
          </ac:spMkLst>
        </pc:spChg>
        <pc:spChg chg="del">
          <ac:chgData name="Milena Martinez Valenzuela" userId="S::mvalenzuela@dipres.gob.cl::be3f4e8d-1043-46cf-ba05-86ea3ca9d6fe" providerId="AD" clId="Web-{F3D7A565-BC21-C817-6D1B-9D4DCC88053B}" dt="2023-12-11T19:06:59.644" v="2"/>
          <ac:spMkLst>
            <pc:docMk/>
            <pc:sldMk cId="2628919268" sldId="10684"/>
            <ac:spMk id="6" creationId="{EFE71632-71DE-2A54-64EA-E99EEEC99809}"/>
          </ac:spMkLst>
        </pc:spChg>
        <pc:spChg chg="del">
          <ac:chgData name="Milena Martinez Valenzuela" userId="S::mvalenzuela@dipres.gob.cl::be3f4e8d-1043-46cf-ba05-86ea3ca9d6fe" providerId="AD" clId="Web-{F3D7A565-BC21-C817-6D1B-9D4DCC88053B}" dt="2023-12-11T19:06:59.644" v="0"/>
          <ac:spMkLst>
            <pc:docMk/>
            <pc:sldMk cId="2628919268" sldId="10684"/>
            <ac:spMk id="7" creationId="{3194F403-5ED0-63FE-6ED5-A391A9022B73}"/>
          </ac:spMkLst>
        </pc:spChg>
        <pc:spChg chg="add">
          <ac:chgData name="Milena Martinez Valenzuela" userId="S::mvalenzuela@dipres.gob.cl::be3f4e8d-1043-46cf-ba05-86ea3ca9d6fe" providerId="AD" clId="Web-{F3D7A565-BC21-C817-6D1B-9D4DCC88053B}" dt="2023-12-11T19:07:00.863" v="3"/>
          <ac:spMkLst>
            <pc:docMk/>
            <pc:sldMk cId="2628919268" sldId="10684"/>
            <ac:spMk id="8" creationId="{FFFBE7E9-292C-E73B-F748-B004652EC837}"/>
          </ac:spMkLst>
        </pc:spChg>
        <pc:spChg chg="add">
          <ac:chgData name="Milena Martinez Valenzuela" userId="S::mvalenzuela@dipres.gob.cl::be3f4e8d-1043-46cf-ba05-86ea3ca9d6fe" providerId="AD" clId="Web-{F3D7A565-BC21-C817-6D1B-9D4DCC88053B}" dt="2023-12-11T19:07:00.894" v="4"/>
          <ac:spMkLst>
            <pc:docMk/>
            <pc:sldMk cId="2628919268" sldId="10684"/>
            <ac:spMk id="10" creationId="{E2B47113-9633-C8DE-BF38-5BC191FFCF20}"/>
          </ac:spMkLst>
        </pc:spChg>
        <pc:extLst>
          <p:ext xmlns:p="http://schemas.openxmlformats.org/presentationml/2006/main" uri="{D6D511B9-2390-475A-947B-AFAB55BFBCF1}">
            <pc226:cmChg xmlns:pc226="http://schemas.microsoft.com/office/powerpoint/2022/06/main/command" chg="mod modRxn">
              <pc226:chgData name="Milena Martinez Valenzuela" userId="S::mvalenzuela@dipres.gob.cl::be3f4e8d-1043-46cf-ba05-86ea3ca9d6fe" providerId="AD" clId="Web-{F3D7A565-BC21-C817-6D1B-9D4DCC88053B}" dt="2023-12-11T19:07:19.348" v="6"/>
              <pc2:cmMkLst xmlns:pc2="http://schemas.microsoft.com/office/powerpoint/2019/9/main/command">
                <pc:docMk/>
                <pc:sldMk cId="2628919268" sldId="10684"/>
                <pc2:cmMk id="{6A5CB83C-D228-46C6-90BB-D05A724F155B}"/>
              </pc2:cmMkLst>
            </pc226:cmChg>
          </p:ext>
        </pc:extLst>
      </pc:sldChg>
    </pc:docChg>
  </pc:docChgLst>
  <pc:docChgLst>
    <pc:chgData name="Montserrat Toledo Egaña" userId="S::mtoledo@dipres.gob.cl::8e1ec3ab-1b94-46f8-b893-f0e51286886c" providerId="AD" clId="Web-{E60A9B1C-90BA-FE94-B3DC-809B2E861CFA}"/>
    <pc:docChg chg="modSld">
      <pc:chgData name="Montserrat Toledo Egaña" userId="S::mtoledo@dipres.gob.cl::8e1ec3ab-1b94-46f8-b893-f0e51286886c" providerId="AD" clId="Web-{E60A9B1C-90BA-FE94-B3DC-809B2E861CFA}" dt="2023-12-11T13:19:21.709" v="1" actId="20577"/>
      <pc:docMkLst>
        <pc:docMk/>
      </pc:docMkLst>
      <pc:sldChg chg="modSp">
        <pc:chgData name="Montserrat Toledo Egaña" userId="S::mtoledo@dipres.gob.cl::8e1ec3ab-1b94-46f8-b893-f0e51286886c" providerId="AD" clId="Web-{E60A9B1C-90BA-FE94-B3DC-809B2E861CFA}" dt="2023-12-11T13:19:21.709" v="1" actId="20577"/>
        <pc:sldMkLst>
          <pc:docMk/>
          <pc:sldMk cId="1800313876" sldId="2147471256"/>
        </pc:sldMkLst>
        <pc:spChg chg="mod">
          <ac:chgData name="Montserrat Toledo Egaña" userId="S::mtoledo@dipres.gob.cl::8e1ec3ab-1b94-46f8-b893-f0e51286886c" providerId="AD" clId="Web-{E60A9B1C-90BA-FE94-B3DC-809B2E861CFA}" dt="2023-12-11T13:19:21.709" v="1" actId="20577"/>
          <ac:spMkLst>
            <pc:docMk/>
            <pc:sldMk cId="1800313876" sldId="2147471256"/>
            <ac:spMk id="3" creationId="{00000000-0000-0000-0000-000000000000}"/>
          </ac:spMkLst>
        </pc:spChg>
      </pc:sldChg>
    </pc:docChg>
  </pc:docChgLst>
  <pc:docChgLst>
    <pc:chgData name="Tania Hernández J" userId="addba336-7181-437c-9483-cb0541d012b2" providerId="ADAL" clId="{BE01ED8A-74CB-4303-BD0B-2A608DF04529}"/>
    <pc:docChg chg="undo custSel addSld delSld modSld">
      <pc:chgData name="Tania Hernández J" userId="addba336-7181-437c-9483-cb0541d012b2" providerId="ADAL" clId="{BE01ED8A-74CB-4303-BD0B-2A608DF04529}" dt="2023-12-11T16:05:16.163" v="191" actId="20577"/>
      <pc:docMkLst>
        <pc:docMk/>
      </pc:docMkLst>
      <pc:sldChg chg="modSp modAnim addCm delCm">
        <pc:chgData name="Tania Hernández J" userId="addba336-7181-437c-9483-cb0541d012b2" providerId="ADAL" clId="{BE01ED8A-74CB-4303-BD0B-2A608DF04529}" dt="2023-12-11T15:43:14.777" v="46"/>
        <pc:sldMkLst>
          <pc:docMk/>
          <pc:sldMk cId="877613551" sldId="276"/>
        </pc:sldMkLst>
        <pc:spChg chg="mod">
          <ac:chgData name="Tania Hernández J" userId="addba336-7181-437c-9483-cb0541d012b2" providerId="ADAL" clId="{BE01ED8A-74CB-4303-BD0B-2A608DF04529}" dt="2023-12-11T15:43:08.396" v="45" actId="6549"/>
          <ac:spMkLst>
            <pc:docMk/>
            <pc:sldMk cId="877613551" sldId="276"/>
            <ac:spMk id="4" creationId="{00000000-0000-0000-0000-000000000000}"/>
          </ac:spMkLst>
        </pc:spChg>
        <pc:extLst>
          <p:ext xmlns:p="http://schemas.openxmlformats.org/presentationml/2006/main" uri="{D6D511B9-2390-475A-947B-AFAB55BFBCF1}">
            <pc226:cmChg xmlns:pc226="http://schemas.microsoft.com/office/powerpoint/2022/06/main/command" chg="add del">
              <pc226:chgData name="Tania Hernández J" userId="addba336-7181-437c-9483-cb0541d012b2" providerId="ADAL" clId="{BE01ED8A-74CB-4303-BD0B-2A608DF04529}" dt="2023-12-11T15:43:14.777" v="46"/>
              <pc2:cmMkLst xmlns:pc2="http://schemas.microsoft.com/office/powerpoint/2019/9/main/command">
                <pc:docMk/>
                <pc:sldMk cId="877613551" sldId="276"/>
                <pc2:cmMk id="{2C431D3B-039B-48F6-83D6-C764BE3291E6}"/>
              </pc2:cmMkLst>
            </pc226:cmChg>
          </p:ext>
        </pc:extLst>
      </pc:sldChg>
      <pc:sldChg chg="modSp mod addCm">
        <pc:chgData name="Tania Hernández J" userId="addba336-7181-437c-9483-cb0541d012b2" providerId="ADAL" clId="{BE01ED8A-74CB-4303-BD0B-2A608DF04529}" dt="2023-12-11T15:27:33.506" v="11" actId="13926"/>
        <pc:sldMkLst>
          <pc:docMk/>
          <pc:sldMk cId="1286877226" sldId="282"/>
        </pc:sldMkLst>
        <pc:spChg chg="mod">
          <ac:chgData name="Tania Hernández J" userId="addba336-7181-437c-9483-cb0541d012b2" providerId="ADAL" clId="{BE01ED8A-74CB-4303-BD0B-2A608DF04529}" dt="2023-12-11T15:27:33.506" v="11" actId="13926"/>
          <ac:spMkLst>
            <pc:docMk/>
            <pc:sldMk cId="1286877226" sldId="282"/>
            <ac:spMk id="3" creationId="{00000000-0000-0000-0000-000000000000}"/>
          </ac:spMkLst>
        </pc:spChg>
        <pc:extLst>
          <p:ext xmlns:p="http://schemas.openxmlformats.org/presentationml/2006/main" uri="{D6D511B9-2390-475A-947B-AFAB55BFBCF1}">
            <pc226:cmChg xmlns:pc226="http://schemas.microsoft.com/office/powerpoint/2022/06/main/command" chg="add">
              <pc226:chgData name="Tania Hernández J" userId="addba336-7181-437c-9483-cb0541d012b2" providerId="ADAL" clId="{BE01ED8A-74CB-4303-BD0B-2A608DF04529}" dt="2023-12-11T15:27:16.774" v="8"/>
              <pc2:cmMkLst xmlns:pc2="http://schemas.microsoft.com/office/powerpoint/2019/9/main/command">
                <pc:docMk/>
                <pc:sldMk cId="1286877226" sldId="282"/>
                <pc2:cmMk id="{79247237-113A-44B4-ACF4-CA1149534CB9}"/>
              </pc2:cmMkLst>
            </pc226:cmChg>
          </p:ext>
        </pc:extLst>
      </pc:sldChg>
      <pc:sldChg chg="modCm">
        <pc:chgData name="Tania Hernández J" userId="addba336-7181-437c-9483-cb0541d012b2" providerId="ADAL" clId="{BE01ED8A-74CB-4303-BD0B-2A608DF04529}" dt="2023-12-11T15:44:29.558" v="49"/>
        <pc:sldMkLst>
          <pc:docMk/>
          <pc:sldMk cId="4279748001" sldId="302"/>
        </pc:sldMkLst>
        <pc:extLst>
          <p:ext xmlns:p="http://schemas.openxmlformats.org/presentationml/2006/main" uri="{D6D511B9-2390-475A-947B-AFAB55BFBCF1}">
            <pc226:cmChg xmlns:pc226="http://schemas.microsoft.com/office/powerpoint/2022/06/main/command" chg="mod">
              <pc226:chgData name="Tania Hernández J" userId="addba336-7181-437c-9483-cb0541d012b2" providerId="ADAL" clId="{BE01ED8A-74CB-4303-BD0B-2A608DF04529}" dt="2023-12-11T15:44:29.558" v="49"/>
              <pc2:cmMkLst xmlns:pc2="http://schemas.microsoft.com/office/powerpoint/2019/9/main/command">
                <pc:docMk/>
                <pc:sldMk cId="4279748001" sldId="302"/>
                <pc2:cmMk id="{4330354C-1772-4DDA-897B-FADF92902E74}"/>
              </pc2:cmMkLst>
            </pc226:cmChg>
            <pc226:cmChg xmlns:pc226="http://schemas.microsoft.com/office/powerpoint/2022/06/main/command" chg="mod">
              <pc226:chgData name="Tania Hernández J" userId="addba336-7181-437c-9483-cb0541d012b2" providerId="ADAL" clId="{BE01ED8A-74CB-4303-BD0B-2A608DF04529}" dt="2023-12-11T15:44:23.980" v="48"/>
              <pc2:cmMkLst xmlns:pc2="http://schemas.microsoft.com/office/powerpoint/2019/9/main/command">
                <pc:docMk/>
                <pc:sldMk cId="4279748001" sldId="302"/>
                <pc2:cmMk id="{6B8128A9-933C-4C9D-92DA-063979610704}"/>
              </pc2:cmMkLst>
            </pc226:cmChg>
          </p:ext>
        </pc:extLst>
      </pc:sldChg>
      <pc:sldChg chg="modSp mod">
        <pc:chgData name="Tania Hernández J" userId="addba336-7181-437c-9483-cb0541d012b2" providerId="ADAL" clId="{BE01ED8A-74CB-4303-BD0B-2A608DF04529}" dt="2023-12-11T15:44:43.589" v="57" actId="6549"/>
        <pc:sldMkLst>
          <pc:docMk/>
          <pc:sldMk cId="2006891235" sldId="2147471245"/>
        </pc:sldMkLst>
        <pc:spChg chg="mod">
          <ac:chgData name="Tania Hernández J" userId="addba336-7181-437c-9483-cb0541d012b2" providerId="ADAL" clId="{BE01ED8A-74CB-4303-BD0B-2A608DF04529}" dt="2023-12-11T15:44:43.589" v="57" actId="6549"/>
          <ac:spMkLst>
            <pc:docMk/>
            <pc:sldMk cId="2006891235" sldId="2147471245"/>
            <ac:spMk id="3" creationId="{00000000-0000-0000-0000-000000000000}"/>
          </ac:spMkLst>
        </pc:spChg>
      </pc:sldChg>
      <pc:sldChg chg="modSp mod addCm">
        <pc:chgData name="Tania Hernández J" userId="addba336-7181-437c-9483-cb0541d012b2" providerId="ADAL" clId="{BE01ED8A-74CB-4303-BD0B-2A608DF04529}" dt="2023-12-11T16:02:10.730" v="183"/>
        <pc:sldMkLst>
          <pc:docMk/>
          <pc:sldMk cId="4172540067" sldId="2147471246"/>
        </pc:sldMkLst>
        <pc:spChg chg="mod">
          <ac:chgData name="Tania Hernández J" userId="addba336-7181-437c-9483-cb0541d012b2" providerId="ADAL" clId="{BE01ED8A-74CB-4303-BD0B-2A608DF04529}" dt="2023-12-11T16:01:59.127" v="182" actId="20577"/>
          <ac:spMkLst>
            <pc:docMk/>
            <pc:sldMk cId="4172540067" sldId="2147471246"/>
            <ac:spMk id="3" creationId="{00000000-0000-0000-0000-000000000000}"/>
          </ac:spMkLst>
        </pc:spChg>
        <pc:extLst>
          <p:ext xmlns:p="http://schemas.openxmlformats.org/presentationml/2006/main" uri="{D6D511B9-2390-475A-947B-AFAB55BFBCF1}">
            <pc226:cmChg xmlns:pc226="http://schemas.microsoft.com/office/powerpoint/2022/06/main/command" chg="add">
              <pc226:chgData name="Tania Hernández J" userId="addba336-7181-437c-9483-cb0541d012b2" providerId="ADAL" clId="{BE01ED8A-74CB-4303-BD0B-2A608DF04529}" dt="2023-12-11T16:02:10.730" v="183"/>
              <pc2:cmMkLst xmlns:pc2="http://schemas.microsoft.com/office/powerpoint/2019/9/main/command">
                <pc:docMk/>
                <pc:sldMk cId="4172540067" sldId="2147471246"/>
                <pc2:cmMk id="{28B0A288-8643-4DC1-96EA-601AEDE9A242}"/>
              </pc2:cmMkLst>
            </pc226:cmChg>
          </p:ext>
        </pc:extLst>
      </pc:sldChg>
      <pc:sldChg chg="modSp mod modCm">
        <pc:chgData name="Tania Hernández J" userId="addba336-7181-437c-9483-cb0541d012b2" providerId="ADAL" clId="{BE01ED8A-74CB-4303-BD0B-2A608DF04529}" dt="2023-12-11T16:02:22.615" v="185" actId="20577"/>
        <pc:sldMkLst>
          <pc:docMk/>
          <pc:sldMk cId="4293016435" sldId="2147471247"/>
        </pc:sldMkLst>
        <pc:spChg chg="mod">
          <ac:chgData name="Tania Hernández J" userId="addba336-7181-437c-9483-cb0541d012b2" providerId="ADAL" clId="{BE01ED8A-74CB-4303-BD0B-2A608DF04529}" dt="2023-12-11T16:02:22.615" v="185" actId="20577"/>
          <ac:spMkLst>
            <pc:docMk/>
            <pc:sldMk cId="4293016435" sldId="2147471247"/>
            <ac:spMk id="3" creationId="{00000000-0000-0000-0000-000000000000}"/>
          </ac:spMkLst>
        </pc:spChg>
        <pc:extLst>
          <p:ext xmlns:p="http://schemas.openxmlformats.org/presentationml/2006/main" uri="{D6D511B9-2390-475A-947B-AFAB55BFBCF1}">
            <pc226:cmChg xmlns:pc226="http://schemas.microsoft.com/office/powerpoint/2022/06/main/command" chg="mod">
              <pc226:chgData name="Tania Hernández J" userId="addba336-7181-437c-9483-cb0541d012b2" providerId="ADAL" clId="{BE01ED8A-74CB-4303-BD0B-2A608DF04529}" dt="2023-12-11T16:02:22.615" v="185" actId="20577"/>
              <pc2:cmMkLst xmlns:pc2="http://schemas.microsoft.com/office/powerpoint/2019/9/main/command">
                <pc:docMk/>
                <pc:sldMk cId="4293016435" sldId="2147471247"/>
                <pc2:cmMk id="{74340615-8C1A-49CA-BD29-4998895AE4C4}"/>
              </pc2:cmMkLst>
            </pc226:cmChg>
          </p:ext>
        </pc:extLst>
      </pc:sldChg>
      <pc:sldChg chg="modSp mod">
        <pc:chgData name="Tania Hernández J" userId="addba336-7181-437c-9483-cb0541d012b2" providerId="ADAL" clId="{BE01ED8A-74CB-4303-BD0B-2A608DF04529}" dt="2023-12-11T16:05:16.163" v="191" actId="20577"/>
        <pc:sldMkLst>
          <pc:docMk/>
          <pc:sldMk cId="1988382518" sldId="2147471251"/>
        </pc:sldMkLst>
        <pc:spChg chg="mod">
          <ac:chgData name="Tania Hernández J" userId="addba336-7181-437c-9483-cb0541d012b2" providerId="ADAL" clId="{BE01ED8A-74CB-4303-BD0B-2A608DF04529}" dt="2023-12-11T16:05:16.163" v="191" actId="20577"/>
          <ac:spMkLst>
            <pc:docMk/>
            <pc:sldMk cId="1988382518" sldId="2147471251"/>
            <ac:spMk id="3" creationId="{00000000-0000-0000-0000-000000000000}"/>
          </ac:spMkLst>
        </pc:spChg>
      </pc:sldChg>
      <pc:sldChg chg="modSp mod modCm">
        <pc:chgData name="Tania Hernández J" userId="addba336-7181-437c-9483-cb0541d012b2" providerId="ADAL" clId="{BE01ED8A-74CB-4303-BD0B-2A608DF04529}" dt="2023-12-11T16:01:25.354" v="176" actId="6549"/>
        <pc:sldMkLst>
          <pc:docMk/>
          <pc:sldMk cId="3022009777" sldId="2147471253"/>
        </pc:sldMkLst>
        <pc:spChg chg="mod">
          <ac:chgData name="Tania Hernández J" userId="addba336-7181-437c-9483-cb0541d012b2" providerId="ADAL" clId="{BE01ED8A-74CB-4303-BD0B-2A608DF04529}" dt="2023-12-11T16:01:25.354" v="176" actId="6549"/>
          <ac:spMkLst>
            <pc:docMk/>
            <pc:sldMk cId="3022009777" sldId="2147471253"/>
            <ac:spMk id="3" creationId="{00000000-0000-0000-0000-000000000000}"/>
          </ac:spMkLst>
        </pc:spChg>
        <pc:extLst>
          <p:ext xmlns:p="http://schemas.openxmlformats.org/presentationml/2006/main" uri="{D6D511B9-2390-475A-947B-AFAB55BFBCF1}">
            <pc226:cmChg xmlns:pc226="http://schemas.microsoft.com/office/powerpoint/2022/06/main/command" chg="mod">
              <pc226:chgData name="Tania Hernández J" userId="addba336-7181-437c-9483-cb0541d012b2" providerId="ADAL" clId="{BE01ED8A-74CB-4303-BD0B-2A608DF04529}" dt="2023-12-11T16:01:25.354" v="176" actId="6549"/>
              <pc2:cmMkLst xmlns:pc2="http://schemas.microsoft.com/office/powerpoint/2019/9/main/command">
                <pc:docMk/>
                <pc:sldMk cId="3022009777" sldId="2147471253"/>
                <pc2:cmMk id="{34C88E09-B809-4845-BB4E-F75588264E87}"/>
              </pc2:cmMkLst>
            </pc226:cmChg>
          </p:ext>
        </pc:extLst>
      </pc:sldChg>
      <pc:sldChg chg="delSp modSp del mod">
        <pc:chgData name="Tania Hernández J" userId="addba336-7181-437c-9483-cb0541d012b2" providerId="ADAL" clId="{BE01ED8A-74CB-4303-BD0B-2A608DF04529}" dt="2023-12-11T15:31:17.871" v="33" actId="47"/>
        <pc:sldMkLst>
          <pc:docMk/>
          <pc:sldMk cId="2876611663" sldId="2147471254"/>
        </pc:sldMkLst>
        <pc:spChg chg="del mod">
          <ac:chgData name="Tania Hernández J" userId="addba336-7181-437c-9483-cb0541d012b2" providerId="ADAL" clId="{BE01ED8A-74CB-4303-BD0B-2A608DF04529}" dt="2023-12-11T15:30:59.386" v="23"/>
          <ac:spMkLst>
            <pc:docMk/>
            <pc:sldMk cId="2876611663" sldId="2147471254"/>
            <ac:spMk id="2" creationId="{36E6127E-B698-1C4C-3FEC-34338C0E05F0}"/>
          </ac:spMkLst>
        </pc:spChg>
      </pc:sldChg>
      <pc:sldChg chg="modSp mod addCm modCm">
        <pc:chgData name="Tania Hernández J" userId="addba336-7181-437c-9483-cb0541d012b2" providerId="ADAL" clId="{BE01ED8A-74CB-4303-BD0B-2A608DF04529}" dt="2023-12-11T15:26:37.386" v="6"/>
        <pc:sldMkLst>
          <pc:docMk/>
          <pc:sldMk cId="1800313876" sldId="2147471256"/>
        </pc:sldMkLst>
        <pc:spChg chg="mod">
          <ac:chgData name="Tania Hernández J" userId="addba336-7181-437c-9483-cb0541d012b2" providerId="ADAL" clId="{BE01ED8A-74CB-4303-BD0B-2A608DF04529}" dt="2023-12-11T15:26:24.583" v="5" actId="13926"/>
          <ac:spMkLst>
            <pc:docMk/>
            <pc:sldMk cId="1800313876" sldId="2147471256"/>
            <ac:spMk id="3" creationId="{00000000-0000-0000-0000-000000000000}"/>
          </ac:spMkLst>
        </pc:spChg>
        <pc:extLst>
          <p:ext xmlns:p="http://schemas.openxmlformats.org/presentationml/2006/main" uri="{D6D511B9-2390-475A-947B-AFAB55BFBCF1}">
            <pc226:cmChg xmlns:pc226="http://schemas.microsoft.com/office/powerpoint/2022/06/main/command" chg="add mod">
              <pc226:chgData name="Tania Hernández J" userId="addba336-7181-437c-9483-cb0541d012b2" providerId="ADAL" clId="{BE01ED8A-74CB-4303-BD0B-2A608DF04529}" dt="2023-12-11T15:26:37.386" v="6"/>
              <pc2:cmMkLst xmlns:pc2="http://schemas.microsoft.com/office/powerpoint/2019/9/main/command">
                <pc:docMk/>
                <pc:sldMk cId="1800313876" sldId="2147471256"/>
                <pc2:cmMk id="{9A21E350-BCF3-4CE6-A175-A1BA58AEA4F6}"/>
              </pc2:cmMkLst>
            </pc226:cmChg>
          </p:ext>
        </pc:extLst>
      </pc:sldChg>
      <pc:sldChg chg="addCm">
        <pc:chgData name="Tania Hernández J" userId="addba336-7181-437c-9483-cb0541d012b2" providerId="ADAL" clId="{BE01ED8A-74CB-4303-BD0B-2A608DF04529}" dt="2023-12-11T15:19:52.228" v="3"/>
        <pc:sldMkLst>
          <pc:docMk/>
          <pc:sldMk cId="2951709829" sldId="2147471258"/>
        </pc:sldMkLst>
        <pc:extLst>
          <p:ext xmlns:p="http://schemas.openxmlformats.org/presentationml/2006/main" uri="{D6D511B9-2390-475A-947B-AFAB55BFBCF1}">
            <pc226:cmChg xmlns:pc226="http://schemas.microsoft.com/office/powerpoint/2022/06/main/command" chg="add">
              <pc226:chgData name="Tania Hernández J" userId="addba336-7181-437c-9483-cb0541d012b2" providerId="ADAL" clId="{BE01ED8A-74CB-4303-BD0B-2A608DF04529}" dt="2023-12-11T15:19:52.228" v="3"/>
              <pc2:cmMkLst xmlns:pc2="http://schemas.microsoft.com/office/powerpoint/2019/9/main/command">
                <pc:docMk/>
                <pc:sldMk cId="2951709829" sldId="2147471258"/>
                <pc2:cmMk id="{B8E109F8-D70B-4F98-A4EF-A36014C630FE}"/>
              </pc2:cmMkLst>
            </pc226:cmChg>
          </p:ext>
        </pc:extLst>
      </pc:sldChg>
      <pc:sldChg chg="modSp mod">
        <pc:chgData name="Tania Hernández J" userId="addba336-7181-437c-9483-cb0541d012b2" providerId="ADAL" clId="{BE01ED8A-74CB-4303-BD0B-2A608DF04529}" dt="2023-12-11T16:02:31.175" v="189" actId="20577"/>
        <pc:sldMkLst>
          <pc:docMk/>
          <pc:sldMk cId="3736298817" sldId="2147471259"/>
        </pc:sldMkLst>
        <pc:spChg chg="mod">
          <ac:chgData name="Tania Hernández J" userId="addba336-7181-437c-9483-cb0541d012b2" providerId="ADAL" clId="{BE01ED8A-74CB-4303-BD0B-2A608DF04529}" dt="2023-12-11T16:02:31.175" v="189" actId="20577"/>
          <ac:spMkLst>
            <pc:docMk/>
            <pc:sldMk cId="3736298817" sldId="2147471259"/>
            <ac:spMk id="3" creationId="{00000000-0000-0000-0000-000000000000}"/>
          </ac:spMkLst>
        </pc:spChg>
      </pc:sldChg>
      <pc:sldChg chg="add del">
        <pc:chgData name="Tania Hernández J" userId="addba336-7181-437c-9483-cb0541d012b2" providerId="ADAL" clId="{BE01ED8A-74CB-4303-BD0B-2A608DF04529}" dt="2023-12-11T15:30:53.494" v="20" actId="2890"/>
        <pc:sldMkLst>
          <pc:docMk/>
          <pc:sldMk cId="522716713" sldId="2147471261"/>
        </pc:sldMkLst>
      </pc:sldChg>
    </pc:docChg>
  </pc:docChgLst>
  <pc:docChgLst>
    <pc:chgData name="Joaquín Perez A" userId="c613291f-b4c5-4677-82c8-7c1305093929" providerId="ADAL" clId="{219E7D29-50F1-4C9F-B978-D6AB56C1FC2A}"/>
    <pc:docChg chg="custSel modSld">
      <pc:chgData name="Joaquín Perez A" userId="c613291f-b4c5-4677-82c8-7c1305093929" providerId="ADAL" clId="{219E7D29-50F1-4C9F-B978-D6AB56C1FC2A}" dt="2023-12-11T15:52:14.923" v="275"/>
      <pc:docMkLst>
        <pc:docMk/>
      </pc:docMkLst>
      <pc:sldChg chg="modCm">
        <pc:chgData name="Joaquín Perez A" userId="c613291f-b4c5-4677-82c8-7c1305093929" providerId="ADAL" clId="{219E7D29-50F1-4C9F-B978-D6AB56C1FC2A}" dt="2023-12-11T12:24:04.541" v="255"/>
        <pc:sldMkLst>
          <pc:docMk/>
          <pc:sldMk cId="2684714154" sldId="279"/>
        </pc:sldMkLst>
        <pc:extLst>
          <p:ext xmlns:p="http://schemas.openxmlformats.org/presentationml/2006/main" uri="{D6D511B9-2390-475A-947B-AFAB55BFBCF1}">
            <pc226:cmChg xmlns:pc226="http://schemas.microsoft.com/office/powerpoint/2022/06/main/command" chg="mod">
              <pc226:chgData name="Joaquín Perez A" userId="c613291f-b4c5-4677-82c8-7c1305093929" providerId="ADAL" clId="{219E7D29-50F1-4C9F-B978-D6AB56C1FC2A}" dt="2023-12-11T12:24:04.541" v="255"/>
              <pc2:cmMkLst xmlns:pc2="http://schemas.microsoft.com/office/powerpoint/2019/9/main/command">
                <pc:docMk/>
                <pc:sldMk cId="2684714154" sldId="279"/>
                <pc2:cmMk id="{3E7484C8-E0C9-4883-B1B4-71082673AE2E}"/>
              </pc2:cmMkLst>
            </pc226:cmChg>
          </p:ext>
        </pc:extLst>
      </pc:sldChg>
      <pc:sldChg chg="modCm">
        <pc:chgData name="Joaquín Perez A" userId="c613291f-b4c5-4677-82c8-7c1305093929" providerId="ADAL" clId="{219E7D29-50F1-4C9F-B978-D6AB56C1FC2A}" dt="2023-12-11T12:25:55.811" v="256"/>
        <pc:sldMkLst>
          <pc:docMk/>
          <pc:sldMk cId="1286877226" sldId="282"/>
        </pc:sldMkLst>
        <pc:extLst>
          <p:ext xmlns:p="http://schemas.openxmlformats.org/presentationml/2006/main" uri="{D6D511B9-2390-475A-947B-AFAB55BFBCF1}">
            <pc226:cmChg xmlns:pc226="http://schemas.microsoft.com/office/powerpoint/2022/06/main/command" chg="mod">
              <pc226:chgData name="Joaquín Perez A" userId="c613291f-b4c5-4677-82c8-7c1305093929" providerId="ADAL" clId="{219E7D29-50F1-4C9F-B978-D6AB56C1FC2A}" dt="2023-12-11T12:25:55.811" v="256"/>
              <pc2:cmMkLst xmlns:pc2="http://schemas.microsoft.com/office/powerpoint/2019/9/main/command">
                <pc:docMk/>
                <pc:sldMk cId="1286877226" sldId="282"/>
                <pc2:cmMk id="{25DC0942-7CE3-4DE9-B1FF-1306C4A0011A}"/>
              </pc2:cmMkLst>
            </pc226:cmChg>
          </p:ext>
        </pc:extLst>
      </pc:sldChg>
      <pc:sldChg chg="addSp delSp modSp mod modCm">
        <pc:chgData name="Joaquín Perez A" userId="c613291f-b4c5-4677-82c8-7c1305093929" providerId="ADAL" clId="{219E7D29-50F1-4C9F-B978-D6AB56C1FC2A}" dt="2023-12-11T13:12:12.747" v="274"/>
        <pc:sldMkLst>
          <pc:docMk/>
          <pc:sldMk cId="3271780845" sldId="10403"/>
        </pc:sldMkLst>
        <pc:graphicFrameChg chg="mod">
          <ac:chgData name="Joaquín Perez A" userId="c613291f-b4c5-4677-82c8-7c1305093929" providerId="ADAL" clId="{219E7D29-50F1-4C9F-B978-D6AB56C1FC2A}" dt="2023-12-11T13:12:01.107" v="272"/>
          <ac:graphicFrameMkLst>
            <pc:docMk/>
            <pc:sldMk cId="3271780845" sldId="10403"/>
            <ac:graphicFrameMk id="4" creationId="{22006101-9E8C-AF6E-8186-1C5F5FFEEA42}"/>
          </ac:graphicFrameMkLst>
        </pc:graphicFrameChg>
        <pc:graphicFrameChg chg="add del mod">
          <ac:chgData name="Joaquín Perez A" userId="c613291f-b4c5-4677-82c8-7c1305093929" providerId="ADAL" clId="{219E7D29-50F1-4C9F-B978-D6AB56C1FC2A}" dt="2023-12-11T13:12:07.132" v="273" actId="478"/>
          <ac:graphicFrameMkLst>
            <pc:docMk/>
            <pc:sldMk cId="3271780845" sldId="10403"/>
            <ac:graphicFrameMk id="6" creationId="{0231D50B-A5CA-212F-DC81-180954F49724}"/>
          </ac:graphicFrameMkLst>
        </pc:graphicFrameChg>
        <pc:extLst>
          <p:ext xmlns:p="http://schemas.openxmlformats.org/presentationml/2006/main" uri="{D6D511B9-2390-475A-947B-AFAB55BFBCF1}">
            <pc226:cmChg xmlns:pc226="http://schemas.microsoft.com/office/powerpoint/2022/06/main/command" chg="mod">
              <pc226:chgData name="Joaquín Perez A" userId="c613291f-b4c5-4677-82c8-7c1305093929" providerId="ADAL" clId="{219E7D29-50F1-4C9F-B978-D6AB56C1FC2A}" dt="2023-12-11T13:12:12.747" v="274"/>
              <pc2:cmMkLst xmlns:pc2="http://schemas.microsoft.com/office/powerpoint/2019/9/main/command">
                <pc:docMk/>
                <pc:sldMk cId="3271780845" sldId="10403"/>
                <pc2:cmMk id="{A343982B-1C7D-484B-B83F-D992276D9F3B}"/>
              </pc2:cmMkLst>
            </pc226:cmChg>
          </p:ext>
        </pc:extLst>
      </pc:sldChg>
      <pc:sldChg chg="modSp mod modCm">
        <pc:chgData name="Joaquín Perez A" userId="c613291f-b4c5-4677-82c8-7c1305093929" providerId="ADAL" clId="{219E7D29-50F1-4C9F-B978-D6AB56C1FC2A}" dt="2023-12-11T11:51:06.777" v="193"/>
        <pc:sldMkLst>
          <pc:docMk/>
          <pc:sldMk cId="2006891235" sldId="2147471245"/>
        </pc:sldMkLst>
        <pc:spChg chg="mod">
          <ac:chgData name="Joaquín Perez A" userId="c613291f-b4c5-4677-82c8-7c1305093929" providerId="ADAL" clId="{219E7D29-50F1-4C9F-B978-D6AB56C1FC2A}" dt="2023-12-11T11:50:55.327" v="192" actId="20577"/>
          <ac:spMkLst>
            <pc:docMk/>
            <pc:sldMk cId="2006891235" sldId="2147471245"/>
            <ac:spMk id="3" creationId="{00000000-0000-0000-0000-000000000000}"/>
          </ac:spMkLst>
        </pc:spChg>
        <pc:extLst>
          <p:ext xmlns:p="http://schemas.openxmlformats.org/presentationml/2006/main" uri="{D6D511B9-2390-475A-947B-AFAB55BFBCF1}">
            <pc226:cmChg xmlns:pc226="http://schemas.microsoft.com/office/powerpoint/2022/06/main/command" chg="mod">
              <pc226:chgData name="Joaquín Perez A" userId="c613291f-b4c5-4677-82c8-7c1305093929" providerId="ADAL" clId="{219E7D29-50F1-4C9F-B978-D6AB56C1FC2A}" dt="2023-12-11T11:51:06.777" v="193"/>
              <pc2:cmMkLst xmlns:pc2="http://schemas.microsoft.com/office/powerpoint/2019/9/main/command">
                <pc:docMk/>
                <pc:sldMk cId="2006891235" sldId="2147471245"/>
                <pc2:cmMk id="{B8CF29A8-6637-4133-87C0-C7423378BDA6}"/>
              </pc2:cmMkLst>
            </pc226:cmChg>
          </p:ext>
        </pc:extLst>
      </pc:sldChg>
      <pc:sldChg chg="modSp mod modCm">
        <pc:chgData name="Joaquín Perez A" userId="c613291f-b4c5-4677-82c8-7c1305093929" providerId="ADAL" clId="{219E7D29-50F1-4C9F-B978-D6AB56C1FC2A}" dt="2023-12-11T11:55:07.843" v="253"/>
        <pc:sldMkLst>
          <pc:docMk/>
          <pc:sldMk cId="4293016435" sldId="2147471247"/>
        </pc:sldMkLst>
        <pc:spChg chg="mod">
          <ac:chgData name="Joaquín Perez A" userId="c613291f-b4c5-4677-82c8-7c1305093929" providerId="ADAL" clId="{219E7D29-50F1-4C9F-B978-D6AB56C1FC2A}" dt="2023-12-11T11:54:52.957" v="252" actId="20577"/>
          <ac:spMkLst>
            <pc:docMk/>
            <pc:sldMk cId="4293016435" sldId="2147471247"/>
            <ac:spMk id="3" creationId="{00000000-0000-0000-0000-000000000000}"/>
          </ac:spMkLst>
        </pc:spChg>
        <pc:extLst>
          <p:ext xmlns:p="http://schemas.openxmlformats.org/presentationml/2006/main" uri="{D6D511B9-2390-475A-947B-AFAB55BFBCF1}">
            <pc226:cmChg xmlns:pc226="http://schemas.microsoft.com/office/powerpoint/2022/06/main/command" chg="mod">
              <pc226:chgData name="Joaquín Perez A" userId="c613291f-b4c5-4677-82c8-7c1305093929" providerId="ADAL" clId="{219E7D29-50F1-4C9F-B978-D6AB56C1FC2A}" dt="2023-12-11T11:55:07.843" v="253"/>
              <pc2:cmMkLst xmlns:pc2="http://schemas.microsoft.com/office/powerpoint/2019/9/main/command">
                <pc:docMk/>
                <pc:sldMk cId="4293016435" sldId="2147471247"/>
                <pc2:cmMk id="{74340615-8C1A-49CA-BD29-4998895AE4C4}"/>
              </pc2:cmMkLst>
            </pc226:cmChg>
          </p:ext>
        </pc:extLst>
      </pc:sldChg>
      <pc:sldChg chg="modCm">
        <pc:chgData name="Joaquín Perez A" userId="c613291f-b4c5-4677-82c8-7c1305093929" providerId="ADAL" clId="{219E7D29-50F1-4C9F-B978-D6AB56C1FC2A}" dt="2023-12-11T12:26:31.044" v="257"/>
        <pc:sldMkLst>
          <pc:docMk/>
          <pc:sldMk cId="3022009777" sldId="2147471253"/>
        </pc:sldMkLst>
        <pc:extLst>
          <p:ext xmlns:p="http://schemas.openxmlformats.org/presentationml/2006/main" uri="{D6D511B9-2390-475A-947B-AFAB55BFBCF1}">
            <pc226:cmChg xmlns:pc226="http://schemas.microsoft.com/office/powerpoint/2022/06/main/command" chg="mod">
              <pc226:chgData name="Joaquín Perez A" userId="c613291f-b4c5-4677-82c8-7c1305093929" providerId="ADAL" clId="{219E7D29-50F1-4C9F-B978-D6AB56C1FC2A}" dt="2023-12-11T12:26:31.044" v="257"/>
              <pc2:cmMkLst xmlns:pc2="http://schemas.microsoft.com/office/powerpoint/2019/9/main/command">
                <pc:docMk/>
                <pc:sldMk cId="3022009777" sldId="2147471253"/>
                <pc2:cmMk id="{34C88E09-B809-4845-BB4E-F75588264E87}"/>
              </pc2:cmMkLst>
            </pc226:cmChg>
          </p:ext>
        </pc:extLst>
      </pc:sldChg>
      <pc:sldChg chg="modSp mod">
        <pc:chgData name="Joaquín Perez A" userId="c613291f-b4c5-4677-82c8-7c1305093929" providerId="ADAL" clId="{219E7D29-50F1-4C9F-B978-D6AB56C1FC2A}" dt="2023-12-11T12:26:55.629" v="258" actId="14734"/>
        <pc:sldMkLst>
          <pc:docMk/>
          <pc:sldMk cId="2355769858" sldId="2147471255"/>
        </pc:sldMkLst>
        <pc:graphicFrameChg chg="modGraphic">
          <ac:chgData name="Joaquín Perez A" userId="c613291f-b4c5-4677-82c8-7c1305093929" providerId="ADAL" clId="{219E7D29-50F1-4C9F-B978-D6AB56C1FC2A}" dt="2023-12-11T12:26:55.629" v="258" actId="14734"/>
          <ac:graphicFrameMkLst>
            <pc:docMk/>
            <pc:sldMk cId="2355769858" sldId="2147471255"/>
            <ac:graphicFrameMk id="4" creationId="{4F399EFA-083B-1BB4-348A-415CD3500080}"/>
          </ac:graphicFrameMkLst>
        </pc:graphicFrameChg>
      </pc:sldChg>
      <pc:sldChg chg="modSp modAnim modCm">
        <pc:chgData name="Joaquín Perez A" userId="c613291f-b4c5-4677-82c8-7c1305093929" providerId="ADAL" clId="{219E7D29-50F1-4C9F-B978-D6AB56C1FC2A}" dt="2023-12-11T15:52:14.923" v="275"/>
        <pc:sldMkLst>
          <pc:docMk/>
          <pc:sldMk cId="2951709829" sldId="2147471258"/>
        </pc:sldMkLst>
        <pc:spChg chg="mod">
          <ac:chgData name="Joaquín Perez A" userId="c613291f-b4c5-4677-82c8-7c1305093929" providerId="ADAL" clId="{219E7D29-50F1-4C9F-B978-D6AB56C1FC2A}" dt="2023-12-11T12:21:48.524" v="254" actId="13926"/>
          <ac:spMkLst>
            <pc:docMk/>
            <pc:sldMk cId="2951709829" sldId="2147471258"/>
            <ac:spMk id="4" creationId="{00000000-0000-0000-0000-000000000000}"/>
          </ac:spMkLst>
        </pc:spChg>
        <pc:extLst>
          <p:ext xmlns:p="http://schemas.openxmlformats.org/presentationml/2006/main" uri="{D6D511B9-2390-475A-947B-AFAB55BFBCF1}">
            <pc226:cmChg xmlns:pc226="http://schemas.microsoft.com/office/powerpoint/2022/06/main/command" chg="mod">
              <pc226:chgData name="Joaquín Perez A" userId="c613291f-b4c5-4677-82c8-7c1305093929" providerId="ADAL" clId="{219E7D29-50F1-4C9F-B978-D6AB56C1FC2A}" dt="2023-12-11T11:43:01.555" v="8"/>
              <pc2:cmMkLst xmlns:pc2="http://schemas.microsoft.com/office/powerpoint/2019/9/main/command">
                <pc:docMk/>
                <pc:sldMk cId="2951709829" sldId="2147471258"/>
                <pc2:cmMk id="{75280FE2-0AA4-4B5B-90B7-00187AB86C5C}"/>
              </pc2:cmMkLst>
            </pc226:cmChg>
            <pc226:cmChg xmlns:pc226="http://schemas.microsoft.com/office/powerpoint/2022/06/main/command" chg="">
              <pc226:chgData name="Joaquín Perez A" userId="c613291f-b4c5-4677-82c8-7c1305093929" providerId="ADAL" clId="{219E7D29-50F1-4C9F-B978-D6AB56C1FC2A}" dt="2023-12-11T15:52:14.923" v="275"/>
              <pc2:cmMkLst xmlns:pc2="http://schemas.microsoft.com/office/powerpoint/2019/9/main/command">
                <pc:docMk/>
                <pc:sldMk cId="2951709829" sldId="2147471258"/>
                <pc2:cmMk id="{B8E109F8-D70B-4F98-A4EF-A36014C630FE}"/>
              </pc2:cmMkLst>
              <pc226:cmRplyChg chg="add">
                <pc226:chgData name="Joaquín Perez A" userId="c613291f-b4c5-4677-82c8-7c1305093929" providerId="ADAL" clId="{219E7D29-50F1-4C9F-B978-D6AB56C1FC2A}" dt="2023-12-11T15:52:14.923" v="275"/>
                <pc2:cmRplyMkLst xmlns:pc2="http://schemas.microsoft.com/office/powerpoint/2019/9/main/command">
                  <pc:docMk/>
                  <pc:sldMk cId="2951709829" sldId="2147471258"/>
                  <pc2:cmMk id="{B8E109F8-D70B-4F98-A4EF-A36014C630FE}"/>
                  <pc2:cmRplyMk id="{88FB9C8D-D30D-42E4-83EA-AB35959CA6CC}"/>
                </pc2:cmRplyMkLst>
              </pc226:cmRplyChg>
            </pc226:cmChg>
          </p:ext>
        </pc:ext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embeddings/oleObject1.bin"/></Relationships>
</file>

<file path=ppt/charts/_rels/chart10.xml.rels><?xml version="1.0" encoding="UTF-8" standalone="yes"?>
<Relationships xmlns="http://schemas.openxmlformats.org/package/2006/relationships"><Relationship Id="rId3" Type="http://schemas.openxmlformats.org/officeDocument/2006/relationships/oleObject" Target="https://haciendachile.sharepoint.com/sites/CoordinacinMacroeconmica/Documentos%20compartidos/BBDD/1.-Graficos_estandar_ppt/3.-%20Mercado%20laboral/Participaci&#243;n%20por%20tramo%20etario.xlsx" TargetMode="External"/><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3" Type="http://schemas.openxmlformats.org/officeDocument/2006/relationships/oleObject" Target="https://haciendachile.sharepoint.com/sites/CoordinacinMacroeconmica/Documentos%20compartidos/BBDD/1.-Graficos_estandar_ppt/3.-%20Mercado%20laboral/Participaci&#243;n%20por%20tramo%20etario.xlsx" TargetMode="External"/><Relationship Id="rId2" Type="http://schemas.microsoft.com/office/2011/relationships/chartColorStyle" Target="colors10.xml"/><Relationship Id="rId1" Type="http://schemas.microsoft.com/office/2011/relationships/chartStyle" Target="style10.xml"/></Relationships>
</file>

<file path=ppt/charts/_rels/chart12.xml.rels><?xml version="1.0" encoding="UTF-8" standalone="yes"?>
<Relationships xmlns="http://schemas.openxmlformats.org/package/2006/relationships"><Relationship Id="rId3" Type="http://schemas.openxmlformats.org/officeDocument/2006/relationships/oleObject" Target="https://haciendachile.sharepoint.com/sites/CoordinacinMacroeconmica/Documentos%20compartidos/BBDD/1.-Graficos_estandar_ppt/3.-%20Mercado%20laboral/Base%20de%20Datos%20IR.xlsx" TargetMode="External"/><Relationship Id="rId2" Type="http://schemas.microsoft.com/office/2011/relationships/chartColorStyle" Target="colors11.xml"/><Relationship Id="rId1" Type="http://schemas.microsoft.com/office/2011/relationships/chartStyle" Target="style11.xml"/></Relationships>
</file>

<file path=ppt/charts/_rels/chart13.xml.rels><?xml version="1.0" encoding="UTF-8" standalone="yes"?>
<Relationships xmlns="http://schemas.openxmlformats.org/package/2006/relationships"><Relationship Id="rId3" Type="http://schemas.openxmlformats.org/officeDocument/2006/relationships/oleObject" Target="https://haciendachile-my.sharepoint.com/personal/saravena_hacienda_gov_cl/Documents/Minuta%20remuneraciones/Gr&#225;ficos%20Minuta.xlsx" TargetMode="External"/><Relationship Id="rId2" Type="http://schemas.microsoft.com/office/2011/relationships/chartColorStyle" Target="colors12.xml"/><Relationship Id="rId1" Type="http://schemas.microsoft.com/office/2011/relationships/chartStyle" Target="style12.xml"/></Relationships>
</file>

<file path=ppt/charts/_rels/chart14.xml.rels><?xml version="1.0" encoding="UTF-8" standalone="yes"?>
<Relationships xmlns="http://schemas.openxmlformats.org/package/2006/relationships"><Relationship Id="rId3" Type="http://schemas.openxmlformats.org/officeDocument/2006/relationships/oleObject" Target="https://haciendachile.sharepoint.com/sites/CoordinacinMacroeconmica/Documentos%20compartidos/Presentaciones/2023/12.%20Diciembre/Sofofa/Insumos/Comparaci&#243;n%20WEO.xlsx" TargetMode="External"/><Relationship Id="rId2" Type="http://schemas.microsoft.com/office/2011/relationships/chartColorStyle" Target="colors13.xml"/><Relationship Id="rId1" Type="http://schemas.microsoft.com/office/2011/relationships/chartStyle" Target="style13.xml"/></Relationships>
</file>

<file path=ppt/charts/_rels/chart15.xml.rels><?xml version="1.0" encoding="UTF-8" standalone="yes"?>
<Relationships xmlns="http://schemas.openxmlformats.org/package/2006/relationships"><Relationship Id="rId3" Type="http://schemas.openxmlformats.org/officeDocument/2006/relationships/oleObject" Target="https://dipres-my.sharepoint.com/personal/thernandez_dipres_gob_cl/Documents/Gremios/Mesa%20del%20Sector%20P&#250;blico/Negociaci&#243;n/2023/PPT/gr&#225;ficos%20de%20torta.xlsx" TargetMode="External"/><Relationship Id="rId2" Type="http://schemas.microsoft.com/office/2011/relationships/chartColorStyle" Target="colors14.xml"/><Relationship Id="rId1" Type="http://schemas.microsoft.com/office/2011/relationships/chartStyle" Target="style14.xml"/></Relationships>
</file>

<file path=ppt/charts/_rels/chart16.xml.rels><?xml version="1.0" encoding="UTF-8" standalone="yes"?>
<Relationships xmlns="http://schemas.openxmlformats.org/package/2006/relationships"><Relationship Id="rId3" Type="http://schemas.openxmlformats.org/officeDocument/2006/relationships/oleObject" Target="https://dipres-my.sharepoint.com/personal/thernandez_dipres_gob_cl/Documents/Gremios/Mesa%20del%20Sector%20P&#250;blico/Negociaci&#243;n/2023/PPT/gr&#225;ficos%20de%20torta.xlsx" TargetMode="External"/><Relationship Id="rId2" Type="http://schemas.microsoft.com/office/2011/relationships/chartColorStyle" Target="colors15.xml"/><Relationship Id="rId1" Type="http://schemas.microsoft.com/office/2011/relationships/chartStyle" Target="style15.xml"/></Relationships>
</file>

<file path=ppt/charts/_rels/chart17.xml.rels><?xml version="1.0" encoding="UTF-8" standalone="yes"?>
<Relationships xmlns="http://schemas.openxmlformats.org/package/2006/relationships"><Relationship Id="rId3" Type="http://schemas.openxmlformats.org/officeDocument/2006/relationships/oleObject" Target="https://dipres-my.sharepoint.com/personal/thernandez_dipres_gob_cl/Documents/Gremios/Mesa%20del%20Sector%20P&#250;blico/Negociaci&#243;n/2023/PPT/gr&#225;ficos%20de%20torta.xlsx" TargetMode="External"/><Relationship Id="rId2" Type="http://schemas.microsoft.com/office/2011/relationships/chartColorStyle" Target="colors16.xml"/><Relationship Id="rId1" Type="http://schemas.microsoft.com/office/2011/relationships/chartStyle" Target="style16.xml"/></Relationships>
</file>

<file path=ppt/charts/_rels/chart18.xml.rels><?xml version="1.0" encoding="UTF-8" standalone="yes"?>
<Relationships xmlns="http://schemas.openxmlformats.org/package/2006/relationships"><Relationship Id="rId3" Type="http://schemas.openxmlformats.org/officeDocument/2006/relationships/oleObject" Target="https://dipres.sharepoint.com/teams/Estudios403/Shared%20Documents/Productivo/Ministerio%20de%20Hacienda/Reajuste%202024/Tablas%20y%20resultados/20231025%20Ejemplo%20planilla%20calculo_agregada%20TABLA%20LIMPIA%205-12.xlsx" TargetMode="External"/><Relationship Id="rId2" Type="http://schemas.microsoft.com/office/2011/relationships/chartColorStyle" Target="colors17.xml"/><Relationship Id="rId1" Type="http://schemas.microsoft.com/office/2011/relationships/chartStyle" Target="style17.xml"/></Relationships>
</file>

<file path=ppt/charts/_rels/chart2.xml.rels><?xml version="1.0" encoding="UTF-8" standalone="yes"?>
<Relationships xmlns="http://schemas.openxmlformats.org/package/2006/relationships"><Relationship Id="rId3" Type="http://schemas.openxmlformats.org/officeDocument/2006/relationships/oleObject" Target="https://haciendachile.sharepoint.com/sites/CoordinacinMacroeconmica/Documentos%20compartidos/Informes/Inflaci&#243;n/BBDD/BBDD_IPC.xlsx" TargetMode="Externa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1.xml"/></Relationships>
</file>

<file path=ppt/charts/_rels/chart3.xml.rels><?xml version="1.0" encoding="UTF-8" standalone="yes"?>
<Relationships xmlns="http://schemas.openxmlformats.org/package/2006/relationships"><Relationship Id="rId3" Type="http://schemas.openxmlformats.org/officeDocument/2006/relationships/oleObject" Target="https://haciendachile.sharepoint.com/sites/CoordinacinMacroeconmica/Documentos%20compartidos/Minutas/EEE/BD%20-%20EEE.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embeddings/oleObject2.bin"/></Relationships>
</file>

<file path=ppt/charts/_rels/chart5.xml.rels><?xml version="1.0" encoding="UTF-8" standalone="yes"?>
<Relationships xmlns="http://schemas.openxmlformats.org/package/2006/relationships"><Relationship Id="rId1" Type="http://schemas.openxmlformats.org/officeDocument/2006/relationships/oleObject" Target="https://haciendachile.sharepoint.com/sites/CoordinacinMacroeconmica/Documentos%20compartidos/Presentaciones/2023/10.%20Octubre/Annual%20Meetings%20-%20espa&#241;ol/insumos/Gr&#225;ficos.xlsx" TargetMode="External"/></Relationships>
</file>

<file path=ppt/charts/_rels/chart6.xml.rels><?xml version="1.0" encoding="UTF-8" standalone="yes"?>
<Relationships xmlns="http://schemas.openxmlformats.org/package/2006/relationships"><Relationship Id="rId3" Type="http://schemas.openxmlformats.org/officeDocument/2006/relationships/oleObject" Target="file:///\\172.20.11.35\2003\Camila%20Vivanco\Mercado%20laboral\Comparacion_ENE_RRAA.xlsx" TargetMode="External"/><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oleObject" Target="https://haciendachile.sharepoint.com/sites/CoordinacinMacroeconmica/Documentos%20compartidos/Presentaciones/2023/12.%20Diciembre/Sofofa/Insumos/empleo%20y%20actividad.xlsx" TargetMode="External"/><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oleObject" Target="https://haciendachile.sharepoint.com/sites/CoordinacinMacroeconmica/Documentos%20compartidos/BBDD/1.-Graficos_estandar_ppt/3.-%20Mercado%20laboral/Tasa%20de%20ocupacion.xlsx" TargetMode="External"/><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oleObject" Target="https://haciendachile.sharepoint.com/sites/CoordinacinMacroeconmica/Documentos%20compartidos/BBDD/1.-Graficos_estandar_ppt/3.-%20Mercado%20laboral/Tasa%20de%20ocupacion.xlsx" TargetMode="External"/><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solidFill>
                <a:latin typeface="Gobcl"/>
                <a:ea typeface="+mn-ea"/>
                <a:cs typeface="+mn-cs"/>
              </a:defRPr>
            </a:pPr>
            <a:r>
              <a:rPr lang="es-CL" sz="1440" b="1">
                <a:solidFill>
                  <a:schemeClr val="tx1"/>
                </a:solidFill>
              </a:rPr>
              <a:t>PIB No Minero Potencial y Efectivo (1)</a:t>
            </a:r>
          </a:p>
          <a:p>
            <a:pPr>
              <a:defRPr>
                <a:solidFill>
                  <a:schemeClr val="tx1"/>
                </a:solidFill>
              </a:defRPr>
            </a:pPr>
            <a:r>
              <a:rPr lang="es-CL" sz="1200">
                <a:solidFill>
                  <a:schemeClr val="tx1"/>
                </a:solidFill>
              </a:rPr>
              <a:t>(logaritmo)</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Gobcl"/>
              <a:ea typeface="+mn-ea"/>
              <a:cs typeface="+mn-cs"/>
            </a:defRPr>
          </a:pPr>
          <a:endParaRPr lang="es-CL"/>
        </a:p>
      </c:txPr>
    </c:title>
    <c:autoTitleDeleted val="0"/>
    <c:plotArea>
      <c:layout>
        <c:manualLayout>
          <c:layoutTarget val="inner"/>
          <c:xMode val="edge"/>
          <c:yMode val="edge"/>
          <c:x val="9.7942261904761921E-2"/>
          <c:y val="0.19026071428571431"/>
          <c:w val="0.87433948412698415"/>
          <c:h val="0.66426581196581191"/>
        </c:manualLayout>
      </c:layout>
      <c:lineChart>
        <c:grouping val="standard"/>
        <c:varyColors val="0"/>
        <c:ser>
          <c:idx val="0"/>
          <c:order val="0"/>
          <c:tx>
            <c:v>PIB NM Efectivo</c:v>
          </c:tx>
          <c:spPr>
            <a:ln w="28575" cap="rnd">
              <a:solidFill>
                <a:srgbClr val="80C0CD"/>
              </a:solidFill>
              <a:round/>
            </a:ln>
            <a:effectLst/>
          </c:spPr>
          <c:marker>
            <c:symbol val="none"/>
          </c:marker>
          <c:cat>
            <c:multiLvlStrRef>
              <c:f>'[pib tendencial.xlsx]Resultados_FMV'!$A$75:$B$93</c:f>
              <c:multiLvlStrCache>
                <c:ptCount val="19"/>
                <c:lvl>
                  <c:pt idx="0">
                    <c:v>I</c:v>
                  </c:pt>
                  <c:pt idx="1">
                    <c:v>II</c:v>
                  </c:pt>
                  <c:pt idx="2">
                    <c:v>III</c:v>
                  </c:pt>
                  <c:pt idx="3">
                    <c:v>IV</c:v>
                  </c:pt>
                  <c:pt idx="4">
                    <c:v>I</c:v>
                  </c:pt>
                  <c:pt idx="5">
                    <c:v>II</c:v>
                  </c:pt>
                  <c:pt idx="6">
                    <c:v>III</c:v>
                  </c:pt>
                  <c:pt idx="7">
                    <c:v>IV</c:v>
                  </c:pt>
                  <c:pt idx="8">
                    <c:v>I</c:v>
                  </c:pt>
                  <c:pt idx="9">
                    <c:v>II</c:v>
                  </c:pt>
                  <c:pt idx="10">
                    <c:v>III</c:v>
                  </c:pt>
                  <c:pt idx="11">
                    <c:v>IV</c:v>
                  </c:pt>
                  <c:pt idx="12">
                    <c:v>I</c:v>
                  </c:pt>
                  <c:pt idx="13">
                    <c:v>II</c:v>
                  </c:pt>
                  <c:pt idx="14">
                    <c:v>III</c:v>
                  </c:pt>
                  <c:pt idx="15">
                    <c:v>IV</c:v>
                  </c:pt>
                  <c:pt idx="16">
                    <c:v>I</c:v>
                  </c:pt>
                  <c:pt idx="17">
                    <c:v>II</c:v>
                  </c:pt>
                  <c:pt idx="18">
                    <c:v>III</c:v>
                  </c:pt>
                </c:lvl>
                <c:lvl>
                  <c:pt idx="0">
                    <c:v>2019</c:v>
                  </c:pt>
                  <c:pt idx="4">
                    <c:v>2020</c:v>
                  </c:pt>
                  <c:pt idx="8">
                    <c:v>2021</c:v>
                  </c:pt>
                  <c:pt idx="12">
                    <c:v>2022</c:v>
                  </c:pt>
                  <c:pt idx="16">
                    <c:v>2023</c:v>
                  </c:pt>
                </c:lvl>
              </c:multiLvlStrCache>
            </c:multiLvlStrRef>
          </c:cat>
          <c:val>
            <c:numRef>
              <c:f>'[pib tendencial.xlsx]Resultados_FMV'!$D$75:$D$93</c:f>
              <c:numCache>
                <c:formatCode>0.0</c:formatCode>
                <c:ptCount val="19"/>
                <c:pt idx="0">
                  <c:v>10.686416295687561</c:v>
                </c:pt>
                <c:pt idx="1">
                  <c:v>10.700449258144504</c:v>
                </c:pt>
                <c:pt idx="2">
                  <c:v>10.696980883549131</c:v>
                </c:pt>
                <c:pt idx="3">
                  <c:v>10.654540385167728</c:v>
                </c:pt>
                <c:pt idx="4">
                  <c:v>10.681461623219246</c:v>
                </c:pt>
                <c:pt idx="5">
                  <c:v>10.528879425938451</c:v>
                </c:pt>
                <c:pt idx="6">
                  <c:v>10.577213721598579</c:v>
                </c:pt>
                <c:pt idx="7">
                  <c:v>10.652730596884995</c:v>
                </c:pt>
                <c:pt idx="8">
                  <c:v>10.699634825676821</c:v>
                </c:pt>
                <c:pt idx="9">
                  <c:v>10.709480747584671</c:v>
                </c:pt>
                <c:pt idx="10">
                  <c:v>10.760474945516314</c:v>
                </c:pt>
                <c:pt idx="11">
                  <c:v>10.78783124852419</c:v>
                </c:pt>
                <c:pt idx="12">
                  <c:v>10.785777521627391</c:v>
                </c:pt>
                <c:pt idx="13">
                  <c:v>10.777809756064263</c:v>
                </c:pt>
                <c:pt idx="14">
                  <c:v>10.770837335775166</c:v>
                </c:pt>
                <c:pt idx="15">
                  <c:v>10.768116757433434</c:v>
                </c:pt>
                <c:pt idx="16">
                  <c:v>10.775779237842505</c:v>
                </c:pt>
                <c:pt idx="17">
                  <c:v>10.769152432358018</c:v>
                </c:pt>
                <c:pt idx="18">
                  <c:v>10.771251342999987</c:v>
                </c:pt>
              </c:numCache>
            </c:numRef>
          </c:val>
          <c:smooth val="0"/>
          <c:extLst>
            <c:ext xmlns:c16="http://schemas.microsoft.com/office/drawing/2014/chart" uri="{C3380CC4-5D6E-409C-BE32-E72D297353CC}">
              <c16:uniqueId val="{00000000-55CF-4909-B0C6-247085E84CE7}"/>
            </c:ext>
          </c:extLst>
        </c:ser>
        <c:ser>
          <c:idx val="1"/>
          <c:order val="1"/>
          <c:tx>
            <c:v>PIB NM Potencial</c:v>
          </c:tx>
          <c:spPr>
            <a:ln w="28575" cap="rnd">
              <a:solidFill>
                <a:srgbClr val="1F4E79"/>
              </a:solidFill>
              <a:round/>
            </a:ln>
            <a:effectLst/>
          </c:spPr>
          <c:marker>
            <c:symbol val="none"/>
          </c:marker>
          <c:cat>
            <c:multiLvlStrRef>
              <c:f>'[pib tendencial.xlsx]Resultados_FMV'!$A$75:$B$93</c:f>
              <c:multiLvlStrCache>
                <c:ptCount val="19"/>
                <c:lvl>
                  <c:pt idx="0">
                    <c:v>I</c:v>
                  </c:pt>
                  <c:pt idx="1">
                    <c:v>II</c:v>
                  </c:pt>
                  <c:pt idx="2">
                    <c:v>III</c:v>
                  </c:pt>
                  <c:pt idx="3">
                    <c:v>IV</c:v>
                  </c:pt>
                  <c:pt idx="4">
                    <c:v>I</c:v>
                  </c:pt>
                  <c:pt idx="5">
                    <c:v>II</c:v>
                  </c:pt>
                  <c:pt idx="6">
                    <c:v>III</c:v>
                  </c:pt>
                  <c:pt idx="7">
                    <c:v>IV</c:v>
                  </c:pt>
                  <c:pt idx="8">
                    <c:v>I</c:v>
                  </c:pt>
                  <c:pt idx="9">
                    <c:v>II</c:v>
                  </c:pt>
                  <c:pt idx="10">
                    <c:v>III</c:v>
                  </c:pt>
                  <c:pt idx="11">
                    <c:v>IV</c:v>
                  </c:pt>
                  <c:pt idx="12">
                    <c:v>I</c:v>
                  </c:pt>
                  <c:pt idx="13">
                    <c:v>II</c:v>
                  </c:pt>
                  <c:pt idx="14">
                    <c:v>III</c:v>
                  </c:pt>
                  <c:pt idx="15">
                    <c:v>IV</c:v>
                  </c:pt>
                  <c:pt idx="16">
                    <c:v>I</c:v>
                  </c:pt>
                  <c:pt idx="17">
                    <c:v>II</c:v>
                  </c:pt>
                  <c:pt idx="18">
                    <c:v>III</c:v>
                  </c:pt>
                </c:lvl>
                <c:lvl>
                  <c:pt idx="0">
                    <c:v>2019</c:v>
                  </c:pt>
                  <c:pt idx="4">
                    <c:v>2020</c:v>
                  </c:pt>
                  <c:pt idx="8">
                    <c:v>2021</c:v>
                  </c:pt>
                  <c:pt idx="12">
                    <c:v>2022</c:v>
                  </c:pt>
                  <c:pt idx="16">
                    <c:v>2023</c:v>
                  </c:pt>
                </c:lvl>
              </c:multiLvlStrCache>
            </c:multiLvlStrRef>
          </c:cat>
          <c:val>
            <c:numRef>
              <c:f>'[pib tendencial.xlsx]Resultados_FMV'!$G$75:$G$93</c:f>
              <c:numCache>
                <c:formatCode>#,##0.00</c:formatCode>
                <c:ptCount val="19"/>
                <c:pt idx="0">
                  <c:v>10.676685629900737</c:v>
                </c:pt>
                <c:pt idx="1">
                  <c:v>10.683582593968246</c:v>
                </c:pt>
                <c:pt idx="2">
                  <c:v>10.688088321250284</c:v>
                </c:pt>
                <c:pt idx="3">
                  <c:v>10.687538833473232</c:v>
                </c:pt>
                <c:pt idx="4">
                  <c:v>10.695966205681428</c:v>
                </c:pt>
                <c:pt idx="5">
                  <c:v>10.681831096740311</c:v>
                </c:pt>
                <c:pt idx="6">
                  <c:v>10.692431611552857</c:v>
                </c:pt>
                <c:pt idx="7">
                  <c:v>10.706764132424</c:v>
                </c:pt>
                <c:pt idx="8">
                  <c:v>10.718089721036018</c:v>
                </c:pt>
                <c:pt idx="9">
                  <c:v>10.724970422465963</c:v>
                </c:pt>
                <c:pt idx="10">
                  <c:v>10.736944709643783</c:v>
                </c:pt>
                <c:pt idx="11">
                  <c:v>10.745923787645875</c:v>
                </c:pt>
                <c:pt idx="12">
                  <c:v>10.751418688050547</c:v>
                </c:pt>
                <c:pt idx="13">
                  <c:v>10.75636057863265</c:v>
                </c:pt>
                <c:pt idx="14">
                  <c:v>10.76094242635523</c:v>
                </c:pt>
                <c:pt idx="15">
                  <c:v>10.765835498300325</c:v>
                </c:pt>
                <c:pt idx="16">
                  <c:v>10.77190156522599</c:v>
                </c:pt>
                <c:pt idx="17">
                  <c:v>10.776391501731002</c:v>
                </c:pt>
                <c:pt idx="18">
                  <c:v>10.781013931467202</c:v>
                </c:pt>
              </c:numCache>
            </c:numRef>
          </c:val>
          <c:smooth val="0"/>
          <c:extLst>
            <c:ext xmlns:c16="http://schemas.microsoft.com/office/drawing/2014/chart" uri="{C3380CC4-5D6E-409C-BE32-E72D297353CC}">
              <c16:uniqueId val="{00000001-55CF-4909-B0C6-247085E84CE7}"/>
            </c:ext>
          </c:extLst>
        </c:ser>
        <c:dLbls>
          <c:showLegendKey val="0"/>
          <c:showVal val="0"/>
          <c:showCatName val="0"/>
          <c:showSerName val="0"/>
          <c:showPercent val="0"/>
          <c:showBubbleSize val="0"/>
        </c:dLbls>
        <c:smooth val="0"/>
        <c:axId val="750402831"/>
        <c:axId val="800331855"/>
      </c:lineChart>
      <c:catAx>
        <c:axId val="750402831"/>
        <c:scaling>
          <c:orientation val="minMax"/>
        </c:scaling>
        <c:delete val="0"/>
        <c:axPos val="b"/>
        <c:numFmt formatCode="yy" sourceLinked="0"/>
        <c:majorTickMark val="none"/>
        <c:minorTickMark val="none"/>
        <c:tickLblPos val="nextTo"/>
        <c:spPr>
          <a:noFill/>
          <a:ln w="9525" cap="flat" cmpd="sng" algn="ctr">
            <a:solidFill>
              <a:sysClr val="windowText" lastClr="000000"/>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Gobcl"/>
                <a:ea typeface="+mn-ea"/>
                <a:cs typeface="+mn-cs"/>
              </a:defRPr>
            </a:pPr>
            <a:endParaRPr lang="es-CL"/>
          </a:p>
        </c:txPr>
        <c:crossAx val="800331855"/>
        <c:crosses val="autoZero"/>
        <c:auto val="1"/>
        <c:lblAlgn val="ctr"/>
        <c:lblOffset val="100"/>
        <c:tickLblSkip val="1"/>
        <c:noMultiLvlLbl val="0"/>
      </c:catAx>
      <c:valAx>
        <c:axId val="800331855"/>
        <c:scaling>
          <c:orientation val="minMax"/>
          <c:max val="10.8"/>
          <c:min val="10.5"/>
        </c:scaling>
        <c:delete val="0"/>
        <c:axPos val="l"/>
        <c:majorGridlines>
          <c:spPr>
            <a:ln w="9525" cap="flat" cmpd="sng" algn="ctr">
              <a:solidFill>
                <a:schemeClr val="tx1">
                  <a:lumMod val="15000"/>
                  <a:lumOff val="85000"/>
                </a:schemeClr>
              </a:solidFill>
              <a:roun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Gobcl"/>
                <a:ea typeface="+mn-ea"/>
                <a:cs typeface="+mn-cs"/>
              </a:defRPr>
            </a:pPr>
            <a:endParaRPr lang="es-CL"/>
          </a:p>
        </c:txPr>
        <c:crossAx val="750402831"/>
        <c:crosses val="autoZero"/>
        <c:crossBetween val="between"/>
      </c:valAx>
      <c:spPr>
        <a:noFill/>
        <a:ln>
          <a:noFill/>
        </a:ln>
        <a:effectLst/>
      </c:spPr>
    </c:plotArea>
    <c:legend>
      <c:legendPos val="b"/>
      <c:layout>
        <c:manualLayout>
          <c:xMode val="edge"/>
          <c:yMode val="edge"/>
          <c:x val="0.16963730158730156"/>
          <c:y val="0.12844960317460316"/>
          <c:w val="0.76543452380952381"/>
          <c:h val="5.1665674603174602E-2"/>
        </c:manualLayout>
      </c:layou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Gobcl"/>
              <a:ea typeface="+mn-ea"/>
              <a:cs typeface="+mn-cs"/>
            </a:defRPr>
          </a:pPr>
          <a:endParaRPr lang="es-C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solidFill>
            <a:sysClr val="windowText" lastClr="000000"/>
          </a:solidFill>
          <a:latin typeface="Gobcl"/>
        </a:defRPr>
      </a:pPr>
      <a:endParaRPr lang="es-CL"/>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rgbClr val="000000"/>
                </a:solidFill>
                <a:latin typeface="GobCL"/>
                <a:ea typeface="Helvetica"/>
                <a:cs typeface="Helvetica"/>
              </a:defRPr>
            </a:pPr>
            <a:r>
              <a:rPr lang="es-CL" b="1"/>
              <a:t>25-54 años: Tasa de participación laboral </a:t>
            </a:r>
            <a:r>
              <a:rPr lang="es-CL"/>
              <a:t>
</a:t>
            </a:r>
            <a:r>
              <a:rPr lang="es-CL" sz="1200"/>
              <a:t>(índice oct-19=100, trimestre móvil)</a:t>
            </a:r>
            <a:endParaRPr lang="es-CL"/>
          </a:p>
        </c:rich>
      </c:tx>
      <c:overlay val="0"/>
      <c:spPr>
        <a:noFill/>
        <a:ln>
          <a:noFill/>
        </a:ln>
        <a:effectLst/>
      </c:spPr>
      <c:txPr>
        <a:bodyPr rot="0" spcFirstLastPara="1" vertOverflow="ellipsis" vert="horz" wrap="square" anchor="ctr" anchorCtr="1"/>
        <a:lstStyle/>
        <a:p>
          <a:pPr>
            <a:defRPr sz="1440" b="0" i="0" u="none" strike="noStrike" kern="1200" spc="0" baseline="0">
              <a:solidFill>
                <a:srgbClr val="000000"/>
              </a:solidFill>
              <a:latin typeface="GobCL"/>
              <a:ea typeface="Helvetica"/>
              <a:cs typeface="Helvetica"/>
            </a:defRPr>
          </a:pPr>
          <a:endParaRPr lang="es-CL"/>
        </a:p>
      </c:txPr>
    </c:title>
    <c:autoTitleDeleted val="0"/>
    <c:plotArea>
      <c:layout>
        <c:manualLayout>
          <c:layoutTarget val="inner"/>
          <c:xMode val="edge"/>
          <c:yMode val="edge"/>
          <c:x val="9.8834634615314235E-2"/>
          <c:y val="0.16905959615966437"/>
          <c:w val="0.87914826370208221"/>
          <c:h val="0.68609153219289887"/>
        </c:manualLayout>
      </c:layout>
      <c:lineChart>
        <c:grouping val="standard"/>
        <c:varyColors val="0"/>
        <c:ser>
          <c:idx val="0"/>
          <c:order val="0"/>
          <c:spPr>
            <a:ln w="28575" cap="rnd">
              <a:solidFill>
                <a:srgbClr val="1F4E79"/>
              </a:solidFill>
              <a:round/>
            </a:ln>
            <a:effectLst/>
          </c:spPr>
          <c:marker>
            <c:symbol val="none"/>
          </c:marker>
          <c:cat>
            <c:numRef>
              <c:f>'[Participación por tramo etario.xlsx]mod2 índice'!$C$10:$C$60</c:f>
              <c:numCache>
                <c:formatCode>mmm\-yy</c:formatCode>
                <c:ptCount val="51"/>
                <c:pt idx="0">
                  <c:v>43678</c:v>
                </c:pt>
                <c:pt idx="1">
                  <c:v>43709</c:v>
                </c:pt>
                <c:pt idx="2">
                  <c:v>43739</c:v>
                </c:pt>
                <c:pt idx="3">
                  <c:v>43770</c:v>
                </c:pt>
                <c:pt idx="4">
                  <c:v>43800</c:v>
                </c:pt>
                <c:pt idx="5">
                  <c:v>43831</c:v>
                </c:pt>
                <c:pt idx="6">
                  <c:v>43862</c:v>
                </c:pt>
                <c:pt idx="7">
                  <c:v>43891</c:v>
                </c:pt>
                <c:pt idx="8">
                  <c:v>43922</c:v>
                </c:pt>
                <c:pt idx="9">
                  <c:v>43952</c:v>
                </c:pt>
                <c:pt idx="10">
                  <c:v>43983</c:v>
                </c:pt>
                <c:pt idx="11">
                  <c:v>44013</c:v>
                </c:pt>
                <c:pt idx="12">
                  <c:v>44044</c:v>
                </c:pt>
                <c:pt idx="13">
                  <c:v>44075</c:v>
                </c:pt>
                <c:pt idx="14">
                  <c:v>44105</c:v>
                </c:pt>
                <c:pt idx="15">
                  <c:v>44136</c:v>
                </c:pt>
                <c:pt idx="16">
                  <c:v>44166</c:v>
                </c:pt>
                <c:pt idx="17">
                  <c:v>44197</c:v>
                </c:pt>
                <c:pt idx="18">
                  <c:v>44228</c:v>
                </c:pt>
                <c:pt idx="19">
                  <c:v>44256</c:v>
                </c:pt>
                <c:pt idx="20">
                  <c:v>44287</c:v>
                </c:pt>
                <c:pt idx="21">
                  <c:v>44317</c:v>
                </c:pt>
                <c:pt idx="22">
                  <c:v>44348</c:v>
                </c:pt>
                <c:pt idx="23">
                  <c:v>44378</c:v>
                </c:pt>
                <c:pt idx="24">
                  <c:v>44409</c:v>
                </c:pt>
                <c:pt idx="25">
                  <c:v>44440</c:v>
                </c:pt>
                <c:pt idx="26">
                  <c:v>44470</c:v>
                </c:pt>
                <c:pt idx="27">
                  <c:v>44501</c:v>
                </c:pt>
                <c:pt idx="28">
                  <c:v>44531</c:v>
                </c:pt>
                <c:pt idx="29">
                  <c:v>44562</c:v>
                </c:pt>
                <c:pt idx="30">
                  <c:v>44593</c:v>
                </c:pt>
                <c:pt idx="31">
                  <c:v>44621</c:v>
                </c:pt>
                <c:pt idx="32">
                  <c:v>44652</c:v>
                </c:pt>
                <c:pt idx="33">
                  <c:v>44682</c:v>
                </c:pt>
                <c:pt idx="34">
                  <c:v>44713</c:v>
                </c:pt>
                <c:pt idx="35">
                  <c:v>44743</c:v>
                </c:pt>
                <c:pt idx="36">
                  <c:v>44774</c:v>
                </c:pt>
                <c:pt idx="37">
                  <c:v>44805</c:v>
                </c:pt>
                <c:pt idx="38">
                  <c:v>44835</c:v>
                </c:pt>
                <c:pt idx="39">
                  <c:v>44866</c:v>
                </c:pt>
                <c:pt idx="40">
                  <c:v>44896</c:v>
                </c:pt>
                <c:pt idx="41">
                  <c:v>44927</c:v>
                </c:pt>
                <c:pt idx="42">
                  <c:v>44958</c:v>
                </c:pt>
                <c:pt idx="43">
                  <c:v>44986</c:v>
                </c:pt>
                <c:pt idx="44">
                  <c:v>45017</c:v>
                </c:pt>
                <c:pt idx="45">
                  <c:v>45047</c:v>
                </c:pt>
                <c:pt idx="46">
                  <c:v>45078</c:v>
                </c:pt>
                <c:pt idx="47">
                  <c:v>45108</c:v>
                </c:pt>
                <c:pt idx="48">
                  <c:v>45139</c:v>
                </c:pt>
                <c:pt idx="49">
                  <c:v>45170</c:v>
                </c:pt>
                <c:pt idx="50">
                  <c:v>45200</c:v>
                </c:pt>
              </c:numCache>
            </c:numRef>
          </c:cat>
          <c:val>
            <c:numRef>
              <c:f>'[Participación por tramo etario.xlsx]mod2 índice'!$J$10:$J$60</c:f>
              <c:numCache>
                <c:formatCode>General</c:formatCode>
                <c:ptCount val="51"/>
                <c:pt idx="2" formatCode="0.0">
                  <c:v>100</c:v>
                </c:pt>
                <c:pt idx="3" formatCode="0.0">
                  <c:v>100.01910257846576</c:v>
                </c:pt>
                <c:pt idx="4" formatCode="0.0">
                  <c:v>100.1312497115017</c:v>
                </c:pt>
                <c:pt idx="5" formatCode="0.0">
                  <c:v>99.785519910860728</c:v>
                </c:pt>
                <c:pt idx="6" formatCode="0.0">
                  <c:v>99.513180635242577</c:v>
                </c:pt>
                <c:pt idx="7" formatCode="0.0">
                  <c:v>98.892495353414731</c:v>
                </c:pt>
                <c:pt idx="8" formatCode="0.0">
                  <c:v>93.886365421947943</c:v>
                </c:pt>
                <c:pt idx="9" formatCode="0.0">
                  <c:v>88.471423696043573</c:v>
                </c:pt>
                <c:pt idx="10" formatCode="0.0">
                  <c:v>86.493527696145847</c:v>
                </c:pt>
                <c:pt idx="11" formatCode="0.0">
                  <c:v>86.327792939950598</c:v>
                </c:pt>
                <c:pt idx="12" formatCode="0.0">
                  <c:v>87.510058977350795</c:v>
                </c:pt>
                <c:pt idx="13" formatCode="0.0">
                  <c:v>88.686824670079218</c:v>
                </c:pt>
                <c:pt idx="14" formatCode="0.0">
                  <c:v>91.159687843198554</c:v>
                </c:pt>
                <c:pt idx="15" formatCode="0.0">
                  <c:v>92.877580162813402</c:v>
                </c:pt>
                <c:pt idx="16" formatCode="0.0">
                  <c:v>93.430461217345467</c:v>
                </c:pt>
                <c:pt idx="17" formatCode="0.0">
                  <c:v>94.153844334154158</c:v>
                </c:pt>
                <c:pt idx="18" formatCode="0.0">
                  <c:v>94.617488596229151</c:v>
                </c:pt>
                <c:pt idx="19" formatCode="0.0">
                  <c:v>94.317273989046754</c:v>
                </c:pt>
                <c:pt idx="20" formatCode="0.0">
                  <c:v>93.695223688517089</c:v>
                </c:pt>
                <c:pt idx="21" formatCode="0.0">
                  <c:v>92.942286340193164</c:v>
                </c:pt>
                <c:pt idx="22" formatCode="0.0">
                  <c:v>92.540057734525107</c:v>
                </c:pt>
                <c:pt idx="23" formatCode="0.0">
                  <c:v>93.103999519669784</c:v>
                </c:pt>
                <c:pt idx="24" formatCode="0.0">
                  <c:v>93.790266422201682</c:v>
                </c:pt>
                <c:pt idx="25" formatCode="0.0">
                  <c:v>94.346273944218666</c:v>
                </c:pt>
                <c:pt idx="26" formatCode="0.0">
                  <c:v>94.784660195917965</c:v>
                </c:pt>
                <c:pt idx="27" formatCode="0.0">
                  <c:v>95.102662281589105</c:v>
                </c:pt>
                <c:pt idx="28" formatCode="0.0">
                  <c:v>95.651970600438602</c:v>
                </c:pt>
                <c:pt idx="29" formatCode="0.0">
                  <c:v>96.172574122530946</c:v>
                </c:pt>
                <c:pt idx="30" formatCode="0.0">
                  <c:v>96.77572420590306</c:v>
                </c:pt>
                <c:pt idx="31" formatCode="0.0">
                  <c:v>97.222335527220878</c:v>
                </c:pt>
                <c:pt idx="32" formatCode="0.0">
                  <c:v>97.60407352958353</c:v>
                </c:pt>
                <c:pt idx="33" formatCode="0.0">
                  <c:v>97.875048708709784</c:v>
                </c:pt>
                <c:pt idx="34" formatCode="0.0">
                  <c:v>97.756277318287658</c:v>
                </c:pt>
                <c:pt idx="35" formatCode="0.0">
                  <c:v>97.872500500103371</c:v>
                </c:pt>
                <c:pt idx="36" formatCode="0.0">
                  <c:v>97.946053519267295</c:v>
                </c:pt>
                <c:pt idx="37" formatCode="0.0">
                  <c:v>97.948359745090443</c:v>
                </c:pt>
                <c:pt idx="38" formatCode="0.0">
                  <c:v>98.202741112417698</c:v>
                </c:pt>
                <c:pt idx="39" formatCode="0.0">
                  <c:v>98.25770328730826</c:v>
                </c:pt>
                <c:pt idx="40" formatCode="0.0">
                  <c:v>98.80469949043723</c:v>
                </c:pt>
                <c:pt idx="41" formatCode="0.0">
                  <c:v>98.805845467553539</c:v>
                </c:pt>
                <c:pt idx="42" formatCode="0.0">
                  <c:v>98.97973511133425</c:v>
                </c:pt>
                <c:pt idx="43" formatCode="0.0">
                  <c:v>99.291231164339138</c:v>
                </c:pt>
                <c:pt idx="44" formatCode="0.0">
                  <c:v>99.505102205393683</c:v>
                </c:pt>
                <c:pt idx="45" formatCode="0.0">
                  <c:v>100.00054011435647</c:v>
                </c:pt>
                <c:pt idx="46" formatCode="0.0">
                  <c:v>100.08157282342189</c:v>
                </c:pt>
                <c:pt idx="47" formatCode="0.0">
                  <c:v>100.08232357197116</c:v>
                </c:pt>
                <c:pt idx="48" formatCode="0.0">
                  <c:v>99.987467414076193</c:v>
                </c:pt>
                <c:pt idx="49" formatCode="0.0">
                  <c:v>99.824140977740853</c:v>
                </c:pt>
                <c:pt idx="50" formatCode="0.0">
                  <c:v>100.04227115579963</c:v>
                </c:pt>
              </c:numCache>
            </c:numRef>
          </c:val>
          <c:smooth val="0"/>
          <c:extLst>
            <c:ext xmlns:c16="http://schemas.microsoft.com/office/drawing/2014/chart" uri="{C3380CC4-5D6E-409C-BE32-E72D297353CC}">
              <c16:uniqueId val="{00000000-2C08-4CE3-A23E-456D9D8225CE}"/>
            </c:ext>
          </c:extLst>
        </c:ser>
        <c:dLbls>
          <c:showLegendKey val="0"/>
          <c:showVal val="0"/>
          <c:showCatName val="0"/>
          <c:showSerName val="0"/>
          <c:showPercent val="0"/>
          <c:showBubbleSize val="0"/>
        </c:dLbls>
        <c:smooth val="0"/>
        <c:axId val="454205584"/>
        <c:axId val="549302960"/>
      </c:lineChart>
      <c:dateAx>
        <c:axId val="454205584"/>
        <c:scaling>
          <c:orientation val="minMax"/>
          <c:max val="45200"/>
          <c:min val="43739"/>
        </c:scaling>
        <c:delete val="0"/>
        <c:axPos val="b"/>
        <c:numFmt formatCode="mmm\-yy" sourceLinked="0"/>
        <c:majorTickMark val="none"/>
        <c:minorTickMark val="none"/>
        <c:tickLblPos val="low"/>
        <c:spPr>
          <a:noFill/>
          <a:ln w="9525" cap="flat" cmpd="sng" algn="ctr">
            <a:solidFill>
              <a:srgbClr val="000000"/>
            </a:solidFill>
            <a:round/>
          </a:ln>
          <a:effectLst/>
        </c:spPr>
        <c:txPr>
          <a:bodyPr rot="-5400000" spcFirstLastPara="1" vertOverflow="ellipsis" wrap="square" anchor="ctr" anchorCtr="1"/>
          <a:lstStyle/>
          <a:p>
            <a:pPr>
              <a:defRPr sz="1200" b="0" i="0" u="none" strike="noStrike" kern="1200" baseline="0">
                <a:solidFill>
                  <a:srgbClr val="000000"/>
                </a:solidFill>
                <a:latin typeface="GobCL"/>
                <a:ea typeface="Helvetica"/>
                <a:cs typeface="Helvetica"/>
              </a:defRPr>
            </a:pPr>
            <a:endParaRPr lang="es-CL"/>
          </a:p>
        </c:txPr>
        <c:crossAx val="549302960"/>
        <c:crosses val="autoZero"/>
        <c:auto val="1"/>
        <c:lblOffset val="100"/>
        <c:baseTimeUnit val="months"/>
      </c:dateAx>
      <c:valAx>
        <c:axId val="549302960"/>
        <c:scaling>
          <c:orientation val="minMax"/>
          <c:min val="80"/>
        </c:scaling>
        <c:delete val="0"/>
        <c:axPos val="l"/>
        <c:majorGridlines>
          <c:spPr>
            <a:ln w="9525" cap="flat" cmpd="sng" algn="ctr">
              <a:solidFill>
                <a:sysClr val="window" lastClr="FFFFFF">
                  <a:lumMod val="65000"/>
                </a:sysClr>
              </a:solidFill>
              <a:prstDash val="solid"/>
              <a:round/>
              <a:headEnd type="none" w="med" len="med"/>
              <a:tailEnd type="none" w="med" len="me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rgbClr val="000000"/>
                </a:solidFill>
                <a:latin typeface="GobCL"/>
                <a:ea typeface="Helvetica"/>
                <a:cs typeface="Helvetica"/>
              </a:defRPr>
            </a:pPr>
            <a:endParaRPr lang="es-CL"/>
          </a:p>
        </c:txPr>
        <c:crossAx val="4542055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200">
          <a:solidFill>
            <a:srgbClr val="000000"/>
          </a:solidFill>
          <a:latin typeface="GobCL"/>
          <a:ea typeface="Helvetica"/>
          <a:cs typeface="Helvetica"/>
        </a:defRPr>
      </a:pPr>
      <a:endParaRPr lang="es-CL"/>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rgbClr val="000000"/>
                </a:solidFill>
                <a:latin typeface="GobCL"/>
                <a:ea typeface="Helvetica"/>
                <a:cs typeface="Helvetica"/>
              </a:defRPr>
            </a:pPr>
            <a:r>
              <a:rPr lang="es-CL" b="1"/>
              <a:t>Resto: Tasa de participación laboral (1)</a:t>
            </a:r>
            <a:r>
              <a:rPr lang="es-CL"/>
              <a:t>
</a:t>
            </a:r>
            <a:r>
              <a:rPr lang="es-CL" sz="1200"/>
              <a:t>(índice oct-19=100, trimestre móvil)</a:t>
            </a:r>
            <a:endParaRPr lang="es-CL"/>
          </a:p>
        </c:rich>
      </c:tx>
      <c:overlay val="0"/>
      <c:spPr>
        <a:noFill/>
        <a:ln>
          <a:noFill/>
        </a:ln>
        <a:effectLst/>
      </c:spPr>
      <c:txPr>
        <a:bodyPr rot="0" spcFirstLastPara="1" vertOverflow="ellipsis" vert="horz" wrap="square" anchor="ctr" anchorCtr="1"/>
        <a:lstStyle/>
        <a:p>
          <a:pPr>
            <a:defRPr sz="1440" b="0" i="0" u="none" strike="noStrike" kern="1200" spc="0" baseline="0">
              <a:solidFill>
                <a:srgbClr val="000000"/>
              </a:solidFill>
              <a:latin typeface="GobCL"/>
              <a:ea typeface="Helvetica"/>
              <a:cs typeface="Helvetica"/>
            </a:defRPr>
          </a:pPr>
          <a:endParaRPr lang="es-CL"/>
        </a:p>
      </c:txPr>
    </c:title>
    <c:autoTitleDeleted val="0"/>
    <c:plotArea>
      <c:layout/>
      <c:lineChart>
        <c:grouping val="standard"/>
        <c:varyColors val="0"/>
        <c:ser>
          <c:idx val="1"/>
          <c:order val="0"/>
          <c:spPr>
            <a:ln w="28575" cap="rnd">
              <a:solidFill>
                <a:srgbClr val="1F4E79"/>
              </a:solidFill>
              <a:round/>
            </a:ln>
            <a:effectLst/>
          </c:spPr>
          <c:marker>
            <c:symbol val="none"/>
          </c:marker>
          <c:cat>
            <c:numRef>
              <c:f>'[Participación por tramo etario.xlsx]mod2 índice'!$C$10:$C$60</c:f>
              <c:numCache>
                <c:formatCode>mmm\-yy</c:formatCode>
                <c:ptCount val="51"/>
                <c:pt idx="0">
                  <c:v>43678</c:v>
                </c:pt>
                <c:pt idx="1">
                  <c:v>43709</c:v>
                </c:pt>
                <c:pt idx="2">
                  <c:v>43739</c:v>
                </c:pt>
                <c:pt idx="3">
                  <c:v>43770</c:v>
                </c:pt>
                <c:pt idx="4">
                  <c:v>43800</c:v>
                </c:pt>
                <c:pt idx="5">
                  <c:v>43831</c:v>
                </c:pt>
                <c:pt idx="6">
                  <c:v>43862</c:v>
                </c:pt>
                <c:pt idx="7">
                  <c:v>43891</c:v>
                </c:pt>
                <c:pt idx="8">
                  <c:v>43922</c:v>
                </c:pt>
                <c:pt idx="9">
                  <c:v>43952</c:v>
                </c:pt>
                <c:pt idx="10">
                  <c:v>43983</c:v>
                </c:pt>
                <c:pt idx="11">
                  <c:v>44013</c:v>
                </c:pt>
                <c:pt idx="12">
                  <c:v>44044</c:v>
                </c:pt>
                <c:pt idx="13">
                  <c:v>44075</c:v>
                </c:pt>
                <c:pt idx="14">
                  <c:v>44105</c:v>
                </c:pt>
                <c:pt idx="15">
                  <c:v>44136</c:v>
                </c:pt>
                <c:pt idx="16">
                  <c:v>44166</c:v>
                </c:pt>
                <c:pt idx="17">
                  <c:v>44197</c:v>
                </c:pt>
                <c:pt idx="18">
                  <c:v>44228</c:v>
                </c:pt>
                <c:pt idx="19">
                  <c:v>44256</c:v>
                </c:pt>
                <c:pt idx="20">
                  <c:v>44287</c:v>
                </c:pt>
                <c:pt idx="21">
                  <c:v>44317</c:v>
                </c:pt>
                <c:pt idx="22">
                  <c:v>44348</c:v>
                </c:pt>
                <c:pt idx="23">
                  <c:v>44378</c:v>
                </c:pt>
                <c:pt idx="24">
                  <c:v>44409</c:v>
                </c:pt>
                <c:pt idx="25">
                  <c:v>44440</c:v>
                </c:pt>
                <c:pt idx="26">
                  <c:v>44470</c:v>
                </c:pt>
                <c:pt idx="27">
                  <c:v>44501</c:v>
                </c:pt>
                <c:pt idx="28">
                  <c:v>44531</c:v>
                </c:pt>
                <c:pt idx="29">
                  <c:v>44562</c:v>
                </c:pt>
                <c:pt idx="30">
                  <c:v>44593</c:v>
                </c:pt>
                <c:pt idx="31">
                  <c:v>44621</c:v>
                </c:pt>
                <c:pt idx="32">
                  <c:v>44652</c:v>
                </c:pt>
                <c:pt idx="33">
                  <c:v>44682</c:v>
                </c:pt>
                <c:pt idx="34">
                  <c:v>44713</c:v>
                </c:pt>
                <c:pt idx="35">
                  <c:v>44743</c:v>
                </c:pt>
                <c:pt idx="36">
                  <c:v>44774</c:v>
                </c:pt>
                <c:pt idx="37">
                  <c:v>44805</c:v>
                </c:pt>
                <c:pt idx="38">
                  <c:v>44835</c:v>
                </c:pt>
                <c:pt idx="39">
                  <c:v>44866</c:v>
                </c:pt>
                <c:pt idx="40">
                  <c:v>44896</c:v>
                </c:pt>
                <c:pt idx="41">
                  <c:v>44927</c:v>
                </c:pt>
                <c:pt idx="42">
                  <c:v>44958</c:v>
                </c:pt>
                <c:pt idx="43">
                  <c:v>44986</c:v>
                </c:pt>
                <c:pt idx="44">
                  <c:v>45017</c:v>
                </c:pt>
                <c:pt idx="45">
                  <c:v>45047</c:v>
                </c:pt>
                <c:pt idx="46">
                  <c:v>45078</c:v>
                </c:pt>
                <c:pt idx="47">
                  <c:v>45108</c:v>
                </c:pt>
                <c:pt idx="48">
                  <c:v>45139</c:v>
                </c:pt>
                <c:pt idx="49">
                  <c:v>45170</c:v>
                </c:pt>
                <c:pt idx="50">
                  <c:v>45200</c:v>
                </c:pt>
              </c:numCache>
            </c:numRef>
          </c:cat>
          <c:val>
            <c:numRef>
              <c:f>'[Participación por tramo etario.xlsx]mod2 índice'!$K$10:$K$60</c:f>
              <c:numCache>
                <c:formatCode>General</c:formatCode>
                <c:ptCount val="51"/>
                <c:pt idx="2" formatCode="0.0">
                  <c:v>100</c:v>
                </c:pt>
                <c:pt idx="3" formatCode="0.0">
                  <c:v>100.59771170447181</c:v>
                </c:pt>
                <c:pt idx="4" formatCode="0.0">
                  <c:v>101.65261501284589</c:v>
                </c:pt>
                <c:pt idx="5" formatCode="0.0">
                  <c:v>104.32859845895533</c:v>
                </c:pt>
                <c:pt idx="6" formatCode="0.0">
                  <c:v>103.75559203417566</c:v>
                </c:pt>
                <c:pt idx="7" formatCode="0.0">
                  <c:v>101.60773939256396</c:v>
                </c:pt>
                <c:pt idx="8" formatCode="0.0">
                  <c:v>88.956404319077606</c:v>
                </c:pt>
                <c:pt idx="9" formatCode="0.0">
                  <c:v>78.533623052929627</c:v>
                </c:pt>
                <c:pt idx="10" formatCode="0.0">
                  <c:v>73.968715034715586</c:v>
                </c:pt>
                <c:pt idx="11" formatCode="0.0">
                  <c:v>73.926756781666427</c:v>
                </c:pt>
                <c:pt idx="12" formatCode="0.0">
                  <c:v>74.769066383049832</c:v>
                </c:pt>
                <c:pt idx="13" formatCode="0.0">
                  <c:v>76.639561358387837</c:v>
                </c:pt>
                <c:pt idx="14" formatCode="0.0">
                  <c:v>79.638834846507223</c:v>
                </c:pt>
                <c:pt idx="15" formatCode="0.0">
                  <c:v>82.043209697342263</c:v>
                </c:pt>
                <c:pt idx="16" formatCode="0.0">
                  <c:v>82.96756084981665</c:v>
                </c:pt>
                <c:pt idx="17" formatCode="0.0">
                  <c:v>84.324082419392994</c:v>
                </c:pt>
                <c:pt idx="18" formatCode="0.0">
                  <c:v>84.902864099002983</c:v>
                </c:pt>
                <c:pt idx="19" formatCode="0.0">
                  <c:v>84.711642497666759</c:v>
                </c:pt>
                <c:pt idx="20" formatCode="0.0">
                  <c:v>83.808602163522067</c:v>
                </c:pt>
                <c:pt idx="21" formatCode="0.0">
                  <c:v>82.178055728910067</c:v>
                </c:pt>
                <c:pt idx="22" formatCode="0.0">
                  <c:v>80.992911707929622</c:v>
                </c:pt>
                <c:pt idx="23" formatCode="0.0">
                  <c:v>81.467358176574805</c:v>
                </c:pt>
                <c:pt idx="24" formatCode="0.0">
                  <c:v>82.345371092843465</c:v>
                </c:pt>
                <c:pt idx="25" formatCode="0.0">
                  <c:v>83.519366032123216</c:v>
                </c:pt>
                <c:pt idx="26" formatCode="0.0">
                  <c:v>85.243356579604651</c:v>
                </c:pt>
                <c:pt idx="27" formatCode="0.0">
                  <c:v>86.137064792368804</c:v>
                </c:pt>
                <c:pt idx="28" formatCode="0.0">
                  <c:v>87.827175778631911</c:v>
                </c:pt>
                <c:pt idx="29" formatCode="0.0">
                  <c:v>87.893676624677568</c:v>
                </c:pt>
                <c:pt idx="30" formatCode="0.0">
                  <c:v>89.038483860946045</c:v>
                </c:pt>
                <c:pt idx="31" formatCode="0.0">
                  <c:v>89.833371582638549</c:v>
                </c:pt>
                <c:pt idx="32" formatCode="0.0">
                  <c:v>89.898564931800024</c:v>
                </c:pt>
                <c:pt idx="33" formatCode="0.0">
                  <c:v>89.93356050068806</c:v>
                </c:pt>
                <c:pt idx="34" formatCode="0.0">
                  <c:v>89.403064645060681</c:v>
                </c:pt>
                <c:pt idx="35" formatCode="0.0">
                  <c:v>89.68364747199135</c:v>
                </c:pt>
                <c:pt idx="36" formatCode="0.0">
                  <c:v>89.454365126718415</c:v>
                </c:pt>
                <c:pt idx="37" formatCode="0.0">
                  <c:v>89.279236251701093</c:v>
                </c:pt>
                <c:pt idx="38" formatCode="0.0">
                  <c:v>89.159154415708585</c:v>
                </c:pt>
                <c:pt idx="39" formatCode="0.0">
                  <c:v>89.258028904564512</c:v>
                </c:pt>
                <c:pt idx="40" formatCode="0.0">
                  <c:v>90.431422159632248</c:v>
                </c:pt>
                <c:pt idx="41" formatCode="0.0">
                  <c:v>92.404348807827731</c:v>
                </c:pt>
                <c:pt idx="42" formatCode="0.0">
                  <c:v>93.745823463937555</c:v>
                </c:pt>
                <c:pt idx="43" formatCode="0.0">
                  <c:v>93.509891370591944</c:v>
                </c:pt>
                <c:pt idx="44" formatCode="0.0">
                  <c:v>92.284903246348975</c:v>
                </c:pt>
                <c:pt idx="45" formatCode="0.0">
                  <c:v>91.425059311242407</c:v>
                </c:pt>
                <c:pt idx="46" formatCode="0.0">
                  <c:v>91.071174399191747</c:v>
                </c:pt>
                <c:pt idx="47" formatCode="0.0">
                  <c:v>91.504451774962988</c:v>
                </c:pt>
                <c:pt idx="48" formatCode="0.0">
                  <c:v>91.485577111193834</c:v>
                </c:pt>
                <c:pt idx="49" formatCode="0.0">
                  <c:v>92.027730429947681</c:v>
                </c:pt>
                <c:pt idx="50" formatCode="0.0">
                  <c:v>92.292724999992004</c:v>
                </c:pt>
              </c:numCache>
            </c:numRef>
          </c:val>
          <c:smooth val="0"/>
          <c:extLst>
            <c:ext xmlns:c16="http://schemas.microsoft.com/office/drawing/2014/chart" uri="{C3380CC4-5D6E-409C-BE32-E72D297353CC}">
              <c16:uniqueId val="{00000000-C41D-4EE7-A831-80A42508FC42}"/>
            </c:ext>
          </c:extLst>
        </c:ser>
        <c:dLbls>
          <c:showLegendKey val="0"/>
          <c:showVal val="0"/>
          <c:showCatName val="0"/>
          <c:showSerName val="0"/>
          <c:showPercent val="0"/>
          <c:showBubbleSize val="0"/>
        </c:dLbls>
        <c:smooth val="0"/>
        <c:axId val="454205584"/>
        <c:axId val="549302960"/>
      </c:lineChart>
      <c:dateAx>
        <c:axId val="454205584"/>
        <c:scaling>
          <c:orientation val="minMax"/>
          <c:max val="45200"/>
          <c:min val="43739"/>
        </c:scaling>
        <c:delete val="0"/>
        <c:axPos val="b"/>
        <c:numFmt formatCode="mmm\-yy" sourceLinked="0"/>
        <c:majorTickMark val="none"/>
        <c:minorTickMark val="none"/>
        <c:tickLblPos val="low"/>
        <c:spPr>
          <a:noFill/>
          <a:ln w="9525" cap="flat" cmpd="sng" algn="ctr">
            <a:solidFill>
              <a:srgbClr val="000000"/>
            </a:solidFill>
            <a:round/>
          </a:ln>
          <a:effectLst/>
        </c:spPr>
        <c:txPr>
          <a:bodyPr rot="-5400000" spcFirstLastPara="1" vertOverflow="ellipsis" wrap="square" anchor="ctr" anchorCtr="1"/>
          <a:lstStyle/>
          <a:p>
            <a:pPr>
              <a:defRPr sz="1200" b="0" i="0" u="none" strike="noStrike" kern="1200" baseline="0">
                <a:solidFill>
                  <a:srgbClr val="000000"/>
                </a:solidFill>
                <a:latin typeface="GobCL"/>
                <a:ea typeface="Helvetica"/>
                <a:cs typeface="Helvetica"/>
              </a:defRPr>
            </a:pPr>
            <a:endParaRPr lang="es-CL"/>
          </a:p>
        </c:txPr>
        <c:crossAx val="549302960"/>
        <c:crosses val="autoZero"/>
        <c:auto val="1"/>
        <c:lblOffset val="100"/>
        <c:baseTimeUnit val="months"/>
      </c:dateAx>
      <c:valAx>
        <c:axId val="549302960"/>
        <c:scaling>
          <c:orientation val="minMax"/>
          <c:min val="60"/>
        </c:scaling>
        <c:delete val="0"/>
        <c:axPos val="l"/>
        <c:majorGridlines>
          <c:spPr>
            <a:ln w="9525" cap="flat" cmpd="sng" algn="ctr">
              <a:solidFill>
                <a:sysClr val="window" lastClr="FFFFFF">
                  <a:lumMod val="65000"/>
                </a:sysClr>
              </a:solidFill>
              <a:prstDash val="solid"/>
              <a:round/>
              <a:headEnd type="none" w="med" len="med"/>
              <a:tailEnd type="none" w="med" len="me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rgbClr val="000000"/>
                </a:solidFill>
                <a:latin typeface="GobCL"/>
                <a:ea typeface="Helvetica"/>
                <a:cs typeface="Helvetica"/>
              </a:defRPr>
            </a:pPr>
            <a:endParaRPr lang="es-CL"/>
          </a:p>
        </c:txPr>
        <c:crossAx val="454205584"/>
        <c:crosses val="autoZero"/>
        <c:crossBetween val="between"/>
        <c:majorUnit val="1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200">
          <a:solidFill>
            <a:srgbClr val="000000"/>
          </a:solidFill>
          <a:latin typeface="GobCL"/>
          <a:ea typeface="Helvetica"/>
          <a:cs typeface="Helvetica"/>
        </a:defRPr>
      </a:pPr>
      <a:endParaRPr lang="es-CL"/>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rgbClr val="000000"/>
                </a:solidFill>
                <a:latin typeface="gobCL" pitchFamily="50" charset="0"/>
                <a:ea typeface="Helvetica"/>
                <a:cs typeface="Helvetica"/>
              </a:defRPr>
            </a:pPr>
            <a:r>
              <a:rPr lang="es-CL" b="1"/>
              <a:t>Salarios</a:t>
            </a:r>
            <a:r>
              <a:rPr lang="es-CL" b="1" baseline="0"/>
              <a:t> reales</a:t>
            </a:r>
            <a:r>
              <a:rPr lang="es-CL"/>
              <a:t>
</a:t>
            </a:r>
            <a:r>
              <a:rPr lang="es-CL" sz="1200"/>
              <a:t>(índice</a:t>
            </a:r>
            <a:r>
              <a:rPr lang="es-CL" sz="1200" baseline="0"/>
              <a:t> 2016=100, desestacionalizado</a:t>
            </a:r>
            <a:r>
              <a:rPr lang="es-CL" sz="1200"/>
              <a:t>)</a:t>
            </a:r>
          </a:p>
        </c:rich>
      </c:tx>
      <c:overlay val="0"/>
      <c:spPr>
        <a:noFill/>
        <a:ln>
          <a:noFill/>
        </a:ln>
        <a:effectLst/>
      </c:spPr>
      <c:txPr>
        <a:bodyPr rot="0" spcFirstLastPara="1" vertOverflow="ellipsis" vert="horz" wrap="square" anchor="ctr" anchorCtr="1"/>
        <a:lstStyle/>
        <a:p>
          <a:pPr>
            <a:defRPr sz="1440" b="0" i="0" u="none" strike="noStrike" kern="1200" spc="0" baseline="0">
              <a:solidFill>
                <a:srgbClr val="000000"/>
              </a:solidFill>
              <a:latin typeface="gobCL" pitchFamily="50" charset="0"/>
              <a:ea typeface="Helvetica"/>
              <a:cs typeface="Helvetica"/>
            </a:defRPr>
          </a:pPr>
          <a:endParaRPr lang="es-CL"/>
        </a:p>
      </c:txPr>
    </c:title>
    <c:autoTitleDeleted val="0"/>
    <c:plotArea>
      <c:layout/>
      <c:lineChart>
        <c:grouping val="standard"/>
        <c:varyColors val="0"/>
        <c:ser>
          <c:idx val="0"/>
          <c:order val="0"/>
          <c:spPr>
            <a:ln w="28575" cap="rnd">
              <a:solidFill>
                <a:srgbClr val="1F4E79"/>
              </a:solidFill>
              <a:round/>
            </a:ln>
            <a:effectLst/>
          </c:spPr>
          <c:marker>
            <c:symbol val="none"/>
          </c:marker>
          <c:cat>
            <c:numRef>
              <c:f>'[Base de Datos IR.xlsx]General'!$C$32:$C$98</c:f>
              <c:numCache>
                <c:formatCode>mmm\-yy</c:formatCode>
                <c:ptCount val="67"/>
                <c:pt idx="0">
                  <c:v>43191</c:v>
                </c:pt>
                <c:pt idx="1">
                  <c:v>43221</c:v>
                </c:pt>
                <c:pt idx="2">
                  <c:v>43252</c:v>
                </c:pt>
                <c:pt idx="3">
                  <c:v>43282</c:v>
                </c:pt>
                <c:pt idx="4">
                  <c:v>43313</c:v>
                </c:pt>
                <c:pt idx="5">
                  <c:v>43344</c:v>
                </c:pt>
                <c:pt idx="6">
                  <c:v>43374</c:v>
                </c:pt>
                <c:pt idx="7">
                  <c:v>43405</c:v>
                </c:pt>
                <c:pt idx="8">
                  <c:v>43435</c:v>
                </c:pt>
                <c:pt idx="9">
                  <c:v>43466</c:v>
                </c:pt>
                <c:pt idx="10">
                  <c:v>43497</c:v>
                </c:pt>
                <c:pt idx="11">
                  <c:v>43525</c:v>
                </c:pt>
                <c:pt idx="12">
                  <c:v>43556</c:v>
                </c:pt>
                <c:pt idx="13">
                  <c:v>43586</c:v>
                </c:pt>
                <c:pt idx="14">
                  <c:v>43617</c:v>
                </c:pt>
                <c:pt idx="15">
                  <c:v>43647</c:v>
                </c:pt>
                <c:pt idx="16">
                  <c:v>43678</c:v>
                </c:pt>
                <c:pt idx="17">
                  <c:v>43709</c:v>
                </c:pt>
                <c:pt idx="18">
                  <c:v>43739</c:v>
                </c:pt>
                <c:pt idx="19">
                  <c:v>43770</c:v>
                </c:pt>
                <c:pt idx="20">
                  <c:v>43800</c:v>
                </c:pt>
                <c:pt idx="21">
                  <c:v>43831</c:v>
                </c:pt>
                <c:pt idx="22">
                  <c:v>43862</c:v>
                </c:pt>
                <c:pt idx="23">
                  <c:v>43891</c:v>
                </c:pt>
                <c:pt idx="24">
                  <c:v>43922</c:v>
                </c:pt>
                <c:pt idx="25">
                  <c:v>43952</c:v>
                </c:pt>
                <c:pt idx="26">
                  <c:v>43983</c:v>
                </c:pt>
                <c:pt idx="27">
                  <c:v>44013</c:v>
                </c:pt>
                <c:pt idx="28">
                  <c:v>44044</c:v>
                </c:pt>
                <c:pt idx="29">
                  <c:v>44075</c:v>
                </c:pt>
                <c:pt idx="30">
                  <c:v>44105</c:v>
                </c:pt>
                <c:pt idx="31">
                  <c:v>44136</c:v>
                </c:pt>
                <c:pt idx="32">
                  <c:v>44166</c:v>
                </c:pt>
                <c:pt idx="33">
                  <c:v>44197</c:v>
                </c:pt>
                <c:pt idx="34">
                  <c:v>44228</c:v>
                </c:pt>
                <c:pt idx="35">
                  <c:v>44256</c:v>
                </c:pt>
                <c:pt idx="36">
                  <c:v>44287</c:v>
                </c:pt>
                <c:pt idx="37">
                  <c:v>44317</c:v>
                </c:pt>
                <c:pt idx="38">
                  <c:v>44348</c:v>
                </c:pt>
                <c:pt idx="39">
                  <c:v>44378</c:v>
                </c:pt>
                <c:pt idx="40">
                  <c:v>44409</c:v>
                </c:pt>
                <c:pt idx="41">
                  <c:v>44440</c:v>
                </c:pt>
                <c:pt idx="42">
                  <c:v>44470</c:v>
                </c:pt>
                <c:pt idx="43">
                  <c:v>44501</c:v>
                </c:pt>
                <c:pt idx="44">
                  <c:v>44531</c:v>
                </c:pt>
                <c:pt idx="45">
                  <c:v>44562</c:v>
                </c:pt>
                <c:pt idx="46">
                  <c:v>44593</c:v>
                </c:pt>
                <c:pt idx="47">
                  <c:v>44621</c:v>
                </c:pt>
                <c:pt idx="48">
                  <c:v>44652</c:v>
                </c:pt>
                <c:pt idx="49">
                  <c:v>44682</c:v>
                </c:pt>
                <c:pt idx="50">
                  <c:v>44713</c:v>
                </c:pt>
                <c:pt idx="51">
                  <c:v>44743</c:v>
                </c:pt>
                <c:pt idx="52">
                  <c:v>44774</c:v>
                </c:pt>
                <c:pt idx="53">
                  <c:v>44805</c:v>
                </c:pt>
                <c:pt idx="54">
                  <c:v>44835</c:v>
                </c:pt>
                <c:pt idx="55">
                  <c:v>44866</c:v>
                </c:pt>
                <c:pt idx="56">
                  <c:v>44896</c:v>
                </c:pt>
                <c:pt idx="57">
                  <c:v>44927</c:v>
                </c:pt>
                <c:pt idx="58">
                  <c:v>44958</c:v>
                </c:pt>
                <c:pt idx="59">
                  <c:v>44986</c:v>
                </c:pt>
                <c:pt idx="60">
                  <c:v>45017</c:v>
                </c:pt>
                <c:pt idx="61">
                  <c:v>45047</c:v>
                </c:pt>
                <c:pt idx="62">
                  <c:v>45078</c:v>
                </c:pt>
                <c:pt idx="63">
                  <c:v>45108</c:v>
                </c:pt>
                <c:pt idx="64">
                  <c:v>45139</c:v>
                </c:pt>
                <c:pt idx="65">
                  <c:v>45170</c:v>
                </c:pt>
                <c:pt idx="66">
                  <c:v>45200</c:v>
                </c:pt>
              </c:numCache>
            </c:numRef>
          </c:cat>
          <c:val>
            <c:numRef>
              <c:f>'[Base de Datos IR.xlsx]General'!$F$32:$F$98</c:f>
              <c:numCache>
                <c:formatCode>0.0</c:formatCode>
                <c:ptCount val="67"/>
                <c:pt idx="0">
                  <c:v>93.29</c:v>
                </c:pt>
                <c:pt idx="1">
                  <c:v>93.24</c:v>
                </c:pt>
                <c:pt idx="2">
                  <c:v>93.39</c:v>
                </c:pt>
                <c:pt idx="3">
                  <c:v>93.19</c:v>
                </c:pt>
                <c:pt idx="4">
                  <c:v>93.08</c:v>
                </c:pt>
                <c:pt idx="5">
                  <c:v>93.65</c:v>
                </c:pt>
                <c:pt idx="6">
                  <c:v>93.8</c:v>
                </c:pt>
                <c:pt idx="7">
                  <c:v>94.07</c:v>
                </c:pt>
                <c:pt idx="8">
                  <c:v>94.06</c:v>
                </c:pt>
                <c:pt idx="9">
                  <c:v>94.35</c:v>
                </c:pt>
                <c:pt idx="10">
                  <c:v>94.9</c:v>
                </c:pt>
                <c:pt idx="11">
                  <c:v>95</c:v>
                </c:pt>
                <c:pt idx="12">
                  <c:v>95.67</c:v>
                </c:pt>
                <c:pt idx="13">
                  <c:v>95.4</c:v>
                </c:pt>
                <c:pt idx="14">
                  <c:v>95.29</c:v>
                </c:pt>
                <c:pt idx="15">
                  <c:v>95.38</c:v>
                </c:pt>
                <c:pt idx="16">
                  <c:v>95.44</c:v>
                </c:pt>
                <c:pt idx="17">
                  <c:v>95.66</c:v>
                </c:pt>
                <c:pt idx="18">
                  <c:v>95.44</c:v>
                </c:pt>
                <c:pt idx="19">
                  <c:v>95.35</c:v>
                </c:pt>
                <c:pt idx="20">
                  <c:v>95.6</c:v>
                </c:pt>
                <c:pt idx="21">
                  <c:v>95.46</c:v>
                </c:pt>
                <c:pt idx="22">
                  <c:v>95.4</c:v>
                </c:pt>
                <c:pt idx="23">
                  <c:v>95.88</c:v>
                </c:pt>
                <c:pt idx="24">
                  <c:v>94.98</c:v>
                </c:pt>
                <c:pt idx="25">
                  <c:v>95.23</c:v>
                </c:pt>
                <c:pt idx="26">
                  <c:v>95.33</c:v>
                </c:pt>
                <c:pt idx="27">
                  <c:v>95.63</c:v>
                </c:pt>
                <c:pt idx="28">
                  <c:v>95.77</c:v>
                </c:pt>
                <c:pt idx="29">
                  <c:v>96.24</c:v>
                </c:pt>
                <c:pt idx="30">
                  <c:v>96.47</c:v>
                </c:pt>
                <c:pt idx="31">
                  <c:v>97.14</c:v>
                </c:pt>
                <c:pt idx="32">
                  <c:v>96.64</c:v>
                </c:pt>
                <c:pt idx="33">
                  <c:v>96.58</c:v>
                </c:pt>
                <c:pt idx="34">
                  <c:v>96.6</c:v>
                </c:pt>
                <c:pt idx="35">
                  <c:v>97.28</c:v>
                </c:pt>
                <c:pt idx="36">
                  <c:v>97.31</c:v>
                </c:pt>
                <c:pt idx="37">
                  <c:v>96.98</c:v>
                </c:pt>
                <c:pt idx="38">
                  <c:v>97.22</c:v>
                </c:pt>
                <c:pt idx="39">
                  <c:v>97.44</c:v>
                </c:pt>
                <c:pt idx="40">
                  <c:v>97.24</c:v>
                </c:pt>
                <c:pt idx="41">
                  <c:v>96.65</c:v>
                </c:pt>
                <c:pt idx="42">
                  <c:v>96.42</c:v>
                </c:pt>
                <c:pt idx="43">
                  <c:v>96.42</c:v>
                </c:pt>
                <c:pt idx="44">
                  <c:v>96.4</c:v>
                </c:pt>
                <c:pt idx="45">
                  <c:v>96.41</c:v>
                </c:pt>
                <c:pt idx="46">
                  <c:v>96.4</c:v>
                </c:pt>
                <c:pt idx="47">
                  <c:v>95.63</c:v>
                </c:pt>
                <c:pt idx="48">
                  <c:v>95.22</c:v>
                </c:pt>
                <c:pt idx="49">
                  <c:v>95.18</c:v>
                </c:pt>
                <c:pt idx="50">
                  <c:v>95.06</c:v>
                </c:pt>
                <c:pt idx="51">
                  <c:v>94.64</c:v>
                </c:pt>
                <c:pt idx="52">
                  <c:v>94.65</c:v>
                </c:pt>
                <c:pt idx="53">
                  <c:v>94.45</c:v>
                </c:pt>
                <c:pt idx="54">
                  <c:v>94.85</c:v>
                </c:pt>
                <c:pt idx="55">
                  <c:v>94.25</c:v>
                </c:pt>
                <c:pt idx="56">
                  <c:v>94.78</c:v>
                </c:pt>
                <c:pt idx="57">
                  <c:v>95.39</c:v>
                </c:pt>
                <c:pt idx="58">
                  <c:v>95.69</c:v>
                </c:pt>
                <c:pt idx="59">
                  <c:v>95.73</c:v>
                </c:pt>
                <c:pt idx="60">
                  <c:v>96.05</c:v>
                </c:pt>
                <c:pt idx="61">
                  <c:v>96.71</c:v>
                </c:pt>
                <c:pt idx="62">
                  <c:v>97.38</c:v>
                </c:pt>
                <c:pt idx="63">
                  <c:v>97.21</c:v>
                </c:pt>
                <c:pt idx="64">
                  <c:v>97.09</c:v>
                </c:pt>
                <c:pt idx="65">
                  <c:v>97.88</c:v>
                </c:pt>
                <c:pt idx="66">
                  <c:v>98.18</c:v>
                </c:pt>
              </c:numCache>
            </c:numRef>
          </c:val>
          <c:smooth val="0"/>
          <c:extLst>
            <c:ext xmlns:c16="http://schemas.microsoft.com/office/drawing/2014/chart" uri="{C3380CC4-5D6E-409C-BE32-E72D297353CC}">
              <c16:uniqueId val="{00000000-3508-4242-A865-B2FA412A0793}"/>
            </c:ext>
          </c:extLst>
        </c:ser>
        <c:dLbls>
          <c:showLegendKey val="0"/>
          <c:showVal val="0"/>
          <c:showCatName val="0"/>
          <c:showSerName val="0"/>
          <c:showPercent val="0"/>
          <c:showBubbleSize val="0"/>
        </c:dLbls>
        <c:smooth val="0"/>
        <c:axId val="997181968"/>
        <c:axId val="997179568"/>
      </c:lineChart>
      <c:dateAx>
        <c:axId val="997181968"/>
        <c:scaling>
          <c:orientation val="minMax"/>
          <c:max val="45200"/>
          <c:min val="43497"/>
        </c:scaling>
        <c:delete val="0"/>
        <c:axPos val="b"/>
        <c:numFmt formatCode="mmm\-yy" sourceLinked="0"/>
        <c:majorTickMark val="none"/>
        <c:minorTickMark val="none"/>
        <c:tickLblPos val="low"/>
        <c:spPr>
          <a:noFill/>
          <a:ln w="9525" cap="flat" cmpd="sng" algn="ctr">
            <a:solidFill>
              <a:srgbClr val="000000"/>
            </a:solidFill>
            <a:round/>
          </a:ln>
          <a:effectLst/>
        </c:spPr>
        <c:txPr>
          <a:bodyPr rot="-5400000" spcFirstLastPara="1" vertOverflow="ellipsis" wrap="square" anchor="ctr" anchorCtr="1"/>
          <a:lstStyle/>
          <a:p>
            <a:pPr>
              <a:defRPr sz="1200" b="0" i="0" u="none" strike="noStrike" kern="1200" baseline="0">
                <a:solidFill>
                  <a:srgbClr val="000000"/>
                </a:solidFill>
                <a:latin typeface="gobCL" pitchFamily="50" charset="0"/>
                <a:ea typeface="Helvetica"/>
                <a:cs typeface="Helvetica"/>
              </a:defRPr>
            </a:pPr>
            <a:endParaRPr lang="es-CL"/>
          </a:p>
        </c:txPr>
        <c:crossAx val="997179568"/>
        <c:crosses val="autoZero"/>
        <c:auto val="1"/>
        <c:lblOffset val="100"/>
        <c:baseTimeUnit val="months"/>
        <c:majorUnit val="4"/>
        <c:majorTimeUnit val="months"/>
      </c:dateAx>
      <c:valAx>
        <c:axId val="997179568"/>
        <c:scaling>
          <c:orientation val="minMax"/>
          <c:min val="93"/>
        </c:scaling>
        <c:delete val="0"/>
        <c:axPos val="l"/>
        <c:majorGridlines>
          <c:spPr>
            <a:ln w="9525" cap="flat" cmpd="sng" algn="ctr">
              <a:solidFill>
                <a:sysClr val="window" lastClr="FFFFFF">
                  <a:lumMod val="65000"/>
                </a:sysClr>
              </a:solidFill>
              <a:prstDash val="solid"/>
              <a:round/>
              <a:headEnd type="none" w="med" len="med"/>
              <a:tailEnd type="none" w="med" len="me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rgbClr val="000000"/>
                </a:solidFill>
                <a:latin typeface="gobCL" pitchFamily="50" charset="0"/>
                <a:ea typeface="Helvetica"/>
                <a:cs typeface="Helvetica"/>
              </a:defRPr>
            </a:pPr>
            <a:endParaRPr lang="es-CL"/>
          </a:p>
        </c:txPr>
        <c:crossAx val="99718196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200">
          <a:solidFill>
            <a:srgbClr val="000000"/>
          </a:solidFill>
          <a:latin typeface="gobCL" pitchFamily="50" charset="0"/>
          <a:ea typeface="Helvetica"/>
          <a:cs typeface="Helvetica"/>
        </a:defRPr>
      </a:pPr>
      <a:endParaRPr lang="es-CL"/>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solidFill>
                <a:latin typeface="gobCL" panose="02000603050000020004"/>
                <a:ea typeface="Gadugi" panose="020B0502040204020203" pitchFamily="34" charset="0"/>
                <a:cs typeface="Helvetica"/>
              </a:defRPr>
            </a:pPr>
            <a:r>
              <a:rPr lang="es-CL" b="1"/>
              <a:t>Masa salarial real</a:t>
            </a:r>
            <a:r>
              <a:rPr lang="es-CL"/>
              <a:t>
(Índice 2016=100, desestacionalizado)</a:t>
            </a:r>
          </a:p>
        </c:rich>
      </c:tx>
      <c:overlay val="0"/>
      <c:spPr>
        <a:noFill/>
        <a:ln>
          <a:noFill/>
        </a:ln>
        <a:effectLst/>
      </c:spPr>
      <c:txPr>
        <a:bodyPr rot="0" spcFirstLastPara="1" vertOverflow="ellipsis" vert="horz" wrap="square" anchor="ctr" anchorCtr="1"/>
        <a:lstStyle/>
        <a:p>
          <a:pPr>
            <a:defRPr sz="1440" b="0" i="0" u="none" strike="noStrike" kern="1200" spc="0" baseline="0">
              <a:solidFill>
                <a:schemeClr val="tx1"/>
              </a:solidFill>
              <a:latin typeface="gobCL" panose="02000603050000020004"/>
              <a:ea typeface="Gadugi" panose="020B0502040204020203" pitchFamily="34" charset="0"/>
              <a:cs typeface="Helvetica"/>
            </a:defRPr>
          </a:pPr>
          <a:endParaRPr lang="es-CL"/>
        </a:p>
      </c:txPr>
    </c:title>
    <c:autoTitleDeleted val="0"/>
    <c:plotArea>
      <c:layout/>
      <c:lineChart>
        <c:grouping val="standard"/>
        <c:varyColors val="0"/>
        <c:ser>
          <c:idx val="0"/>
          <c:order val="0"/>
          <c:tx>
            <c:strRef>
              <c:f>'[Gráficos Minuta.xlsx]Masa salarial'!$G$1</c:f>
              <c:strCache>
                <c:ptCount val="1"/>
                <c:pt idx="0">
                  <c:v>Masa salarial real 2016=100 (NSA)</c:v>
                </c:pt>
              </c:strCache>
            </c:strRef>
          </c:tx>
          <c:spPr>
            <a:ln w="28575" cap="rnd">
              <a:solidFill>
                <a:srgbClr val="80C0CD"/>
              </a:solidFill>
              <a:round/>
            </a:ln>
            <a:effectLst/>
          </c:spPr>
          <c:marker>
            <c:symbol val="none"/>
          </c:marker>
          <c:cat>
            <c:numRef>
              <c:f>'[Gráficos Minuta.xlsx]Masa salarial'!$A$3:$A$96</c:f>
              <c:numCache>
                <c:formatCode>mmm\-yy</c:formatCode>
                <c:ptCount val="94"/>
                <c:pt idx="0">
                  <c:v>42370</c:v>
                </c:pt>
                <c:pt idx="1">
                  <c:v>42401</c:v>
                </c:pt>
                <c:pt idx="2">
                  <c:v>42430</c:v>
                </c:pt>
                <c:pt idx="3">
                  <c:v>42461</c:v>
                </c:pt>
                <c:pt idx="4">
                  <c:v>42491</c:v>
                </c:pt>
                <c:pt idx="5">
                  <c:v>42522</c:v>
                </c:pt>
                <c:pt idx="6">
                  <c:v>42552</c:v>
                </c:pt>
                <c:pt idx="7">
                  <c:v>42583</c:v>
                </c:pt>
                <c:pt idx="8">
                  <c:v>42614</c:v>
                </c:pt>
                <c:pt idx="9">
                  <c:v>42644</c:v>
                </c:pt>
                <c:pt idx="10">
                  <c:v>42675</c:v>
                </c:pt>
                <c:pt idx="11">
                  <c:v>42705</c:v>
                </c:pt>
                <c:pt idx="12">
                  <c:v>42736</c:v>
                </c:pt>
                <c:pt idx="13">
                  <c:v>42767</c:v>
                </c:pt>
                <c:pt idx="14">
                  <c:v>42795</c:v>
                </c:pt>
                <c:pt idx="15">
                  <c:v>42826</c:v>
                </c:pt>
                <c:pt idx="16">
                  <c:v>42856</c:v>
                </c:pt>
                <c:pt idx="17">
                  <c:v>42887</c:v>
                </c:pt>
                <c:pt idx="18">
                  <c:v>42917</c:v>
                </c:pt>
                <c:pt idx="19">
                  <c:v>42948</c:v>
                </c:pt>
                <c:pt idx="20">
                  <c:v>42979</c:v>
                </c:pt>
                <c:pt idx="21">
                  <c:v>43009</c:v>
                </c:pt>
                <c:pt idx="22">
                  <c:v>43040</c:v>
                </c:pt>
                <c:pt idx="23">
                  <c:v>43070</c:v>
                </c:pt>
                <c:pt idx="24">
                  <c:v>43101</c:v>
                </c:pt>
                <c:pt idx="25">
                  <c:v>43132</c:v>
                </c:pt>
                <c:pt idx="26">
                  <c:v>43160</c:v>
                </c:pt>
                <c:pt idx="27">
                  <c:v>43191</c:v>
                </c:pt>
                <c:pt idx="28">
                  <c:v>43221</c:v>
                </c:pt>
                <c:pt idx="29">
                  <c:v>43252</c:v>
                </c:pt>
                <c:pt idx="30">
                  <c:v>43282</c:v>
                </c:pt>
                <c:pt idx="31">
                  <c:v>43313</c:v>
                </c:pt>
                <c:pt idx="32">
                  <c:v>43344</c:v>
                </c:pt>
                <c:pt idx="33">
                  <c:v>43374</c:v>
                </c:pt>
                <c:pt idx="34">
                  <c:v>43405</c:v>
                </c:pt>
                <c:pt idx="35">
                  <c:v>43435</c:v>
                </c:pt>
                <c:pt idx="36">
                  <c:v>43466</c:v>
                </c:pt>
                <c:pt idx="37">
                  <c:v>43497</c:v>
                </c:pt>
                <c:pt idx="38">
                  <c:v>43525</c:v>
                </c:pt>
                <c:pt idx="39">
                  <c:v>43556</c:v>
                </c:pt>
                <c:pt idx="40">
                  <c:v>43586</c:v>
                </c:pt>
                <c:pt idx="41">
                  <c:v>43617</c:v>
                </c:pt>
                <c:pt idx="42">
                  <c:v>43647</c:v>
                </c:pt>
                <c:pt idx="43">
                  <c:v>43678</c:v>
                </c:pt>
                <c:pt idx="44">
                  <c:v>43709</c:v>
                </c:pt>
                <c:pt idx="45">
                  <c:v>43739</c:v>
                </c:pt>
                <c:pt idx="46">
                  <c:v>43770</c:v>
                </c:pt>
                <c:pt idx="47">
                  <c:v>43800</c:v>
                </c:pt>
                <c:pt idx="48">
                  <c:v>43831</c:v>
                </c:pt>
                <c:pt idx="49">
                  <c:v>43862</c:v>
                </c:pt>
                <c:pt idx="50">
                  <c:v>43891</c:v>
                </c:pt>
                <c:pt idx="51">
                  <c:v>43922</c:v>
                </c:pt>
                <c:pt idx="52">
                  <c:v>43952</c:v>
                </c:pt>
                <c:pt idx="53">
                  <c:v>43983</c:v>
                </c:pt>
                <c:pt idx="54">
                  <c:v>44013</c:v>
                </c:pt>
                <c:pt idx="55">
                  <c:v>44044</c:v>
                </c:pt>
                <c:pt idx="56">
                  <c:v>44075</c:v>
                </c:pt>
                <c:pt idx="57">
                  <c:v>44105</c:v>
                </c:pt>
                <c:pt idx="58">
                  <c:v>44136</c:v>
                </c:pt>
                <c:pt idx="59">
                  <c:v>44166</c:v>
                </c:pt>
                <c:pt idx="60">
                  <c:v>44197</c:v>
                </c:pt>
                <c:pt idx="61">
                  <c:v>44228</c:v>
                </c:pt>
                <c:pt idx="62">
                  <c:v>44256</c:v>
                </c:pt>
                <c:pt idx="63">
                  <c:v>44287</c:v>
                </c:pt>
                <c:pt idx="64">
                  <c:v>44317</c:v>
                </c:pt>
                <c:pt idx="65">
                  <c:v>44348</c:v>
                </c:pt>
                <c:pt idx="66">
                  <c:v>44378</c:v>
                </c:pt>
                <c:pt idx="67">
                  <c:v>44409</c:v>
                </c:pt>
                <c:pt idx="68">
                  <c:v>44440</c:v>
                </c:pt>
                <c:pt idx="69">
                  <c:v>44470</c:v>
                </c:pt>
                <c:pt idx="70">
                  <c:v>44501</c:v>
                </c:pt>
                <c:pt idx="71">
                  <c:v>44531</c:v>
                </c:pt>
                <c:pt idx="72">
                  <c:v>44562</c:v>
                </c:pt>
                <c:pt idx="73">
                  <c:v>44593</c:v>
                </c:pt>
                <c:pt idx="74">
                  <c:v>44621</c:v>
                </c:pt>
                <c:pt idx="75">
                  <c:v>44652</c:v>
                </c:pt>
                <c:pt idx="76">
                  <c:v>44682</c:v>
                </c:pt>
                <c:pt idx="77">
                  <c:v>44713</c:v>
                </c:pt>
                <c:pt idx="78">
                  <c:v>44743</c:v>
                </c:pt>
                <c:pt idx="79">
                  <c:v>44774</c:v>
                </c:pt>
                <c:pt idx="80">
                  <c:v>44805</c:v>
                </c:pt>
                <c:pt idx="81">
                  <c:v>44835</c:v>
                </c:pt>
                <c:pt idx="82">
                  <c:v>44866</c:v>
                </c:pt>
                <c:pt idx="83">
                  <c:v>44896</c:v>
                </c:pt>
                <c:pt idx="84">
                  <c:v>44927</c:v>
                </c:pt>
                <c:pt idx="85">
                  <c:v>44958</c:v>
                </c:pt>
                <c:pt idx="86">
                  <c:v>44986</c:v>
                </c:pt>
                <c:pt idx="87">
                  <c:v>45017</c:v>
                </c:pt>
                <c:pt idx="88">
                  <c:v>45047</c:v>
                </c:pt>
                <c:pt idx="89">
                  <c:v>45078</c:v>
                </c:pt>
                <c:pt idx="90">
                  <c:v>45108</c:v>
                </c:pt>
                <c:pt idx="91">
                  <c:v>45139</c:v>
                </c:pt>
                <c:pt idx="92">
                  <c:v>45170</c:v>
                </c:pt>
                <c:pt idx="93">
                  <c:v>45200</c:v>
                </c:pt>
              </c:numCache>
            </c:numRef>
          </c:cat>
          <c:val>
            <c:numRef>
              <c:f>'[Gráficos Minuta.xlsx]Masa salarial'!$G$3:$G$96</c:f>
              <c:numCache>
                <c:formatCode>0.0</c:formatCode>
                <c:ptCount val="94"/>
                <c:pt idx="0">
                  <c:v>100.90981405901003</c:v>
                </c:pt>
                <c:pt idx="1">
                  <c:v>99.619580680018984</c:v>
                </c:pt>
                <c:pt idx="2">
                  <c:v>99.963871110979269</c:v>
                </c:pt>
                <c:pt idx="3">
                  <c:v>99.823826857729713</c:v>
                </c:pt>
                <c:pt idx="4">
                  <c:v>99.042455699727739</c:v>
                </c:pt>
                <c:pt idx="5">
                  <c:v>98.54136889625596</c:v>
                </c:pt>
                <c:pt idx="6">
                  <c:v>98.80804813187936</c:v>
                </c:pt>
                <c:pt idx="7">
                  <c:v>98.783369095813256</c:v>
                </c:pt>
                <c:pt idx="8">
                  <c:v>100.05265147039385</c:v>
                </c:pt>
                <c:pt idx="9">
                  <c:v>100.06621937712045</c:v>
                </c:pt>
                <c:pt idx="10">
                  <c:v>101.21473286165798</c:v>
                </c:pt>
                <c:pt idx="11">
                  <c:v>103.17406175941341</c:v>
                </c:pt>
                <c:pt idx="12">
                  <c:v>104.18269561271315</c:v>
                </c:pt>
                <c:pt idx="13">
                  <c:v>103.08333328649738</c:v>
                </c:pt>
                <c:pt idx="14">
                  <c:v>103.26243985858336</c:v>
                </c:pt>
                <c:pt idx="15">
                  <c:v>104.03457109730728</c:v>
                </c:pt>
                <c:pt idx="16">
                  <c:v>103.90325548378591</c:v>
                </c:pt>
                <c:pt idx="17">
                  <c:v>104.79052483530511</c:v>
                </c:pt>
                <c:pt idx="18">
                  <c:v>105.7356642040358</c:v>
                </c:pt>
                <c:pt idx="19">
                  <c:v>106.49460021032509</c:v>
                </c:pt>
                <c:pt idx="20">
                  <c:v>107.28814358462273</c:v>
                </c:pt>
                <c:pt idx="21">
                  <c:v>107.09421167889064</c:v>
                </c:pt>
                <c:pt idx="22">
                  <c:v>108.75168374911189</c:v>
                </c:pt>
                <c:pt idx="23">
                  <c:v>110.08841320618173</c:v>
                </c:pt>
                <c:pt idx="24">
                  <c:v>110.76091379444615</c:v>
                </c:pt>
                <c:pt idx="25">
                  <c:v>110.21303913662632</c:v>
                </c:pt>
                <c:pt idx="26">
                  <c:v>110.19226994887239</c:v>
                </c:pt>
                <c:pt idx="27">
                  <c:v>110.43358497786734</c:v>
                </c:pt>
                <c:pt idx="28">
                  <c:v>109.80327390050819</c:v>
                </c:pt>
                <c:pt idx="29">
                  <c:v>109.72319236030516</c:v>
                </c:pt>
                <c:pt idx="30">
                  <c:v>109.31255214646755</c:v>
                </c:pt>
                <c:pt idx="31">
                  <c:v>109.15241410662068</c:v>
                </c:pt>
                <c:pt idx="32">
                  <c:v>109.87962438739876</c:v>
                </c:pt>
                <c:pt idx="33">
                  <c:v>110.21241793179915</c:v>
                </c:pt>
                <c:pt idx="34">
                  <c:v>111.51186975412757</c:v>
                </c:pt>
                <c:pt idx="35">
                  <c:v>113.24920373983983</c:v>
                </c:pt>
                <c:pt idx="36">
                  <c:v>114.20510729831852</c:v>
                </c:pt>
                <c:pt idx="37">
                  <c:v>114.05325704652437</c:v>
                </c:pt>
                <c:pt idx="38">
                  <c:v>114.16647564397019</c:v>
                </c:pt>
                <c:pt idx="39">
                  <c:v>115.049422874573</c:v>
                </c:pt>
                <c:pt idx="40">
                  <c:v>114.38730290535518</c:v>
                </c:pt>
                <c:pt idx="41">
                  <c:v>114.18483243972163</c:v>
                </c:pt>
                <c:pt idx="42">
                  <c:v>114.53481756972926</c:v>
                </c:pt>
                <c:pt idx="43">
                  <c:v>114.78370193555601</c:v>
                </c:pt>
                <c:pt idx="44">
                  <c:v>115.9281609442989</c:v>
                </c:pt>
                <c:pt idx="45">
                  <c:v>114.92130843068757</c:v>
                </c:pt>
                <c:pt idx="46">
                  <c:v>115.78013232086565</c:v>
                </c:pt>
                <c:pt idx="47">
                  <c:v>117.25744247216691</c:v>
                </c:pt>
                <c:pt idx="48">
                  <c:v>117.96917085539498</c:v>
                </c:pt>
                <c:pt idx="49">
                  <c:v>116.67003013273946</c:v>
                </c:pt>
                <c:pt idx="50">
                  <c:v>116.0045969584524</c:v>
                </c:pt>
                <c:pt idx="51">
                  <c:v>105.50821256441517</c:v>
                </c:pt>
                <c:pt idx="52">
                  <c:v>95.356229313906056</c:v>
                </c:pt>
                <c:pt idx="53">
                  <c:v>91.520695633974825</c:v>
                </c:pt>
                <c:pt idx="54">
                  <c:v>91.213033398984123</c:v>
                </c:pt>
                <c:pt idx="55">
                  <c:v>92.815071968994559</c:v>
                </c:pt>
                <c:pt idx="56">
                  <c:v>95.40343849118328</c:v>
                </c:pt>
                <c:pt idx="57">
                  <c:v>98.982338337752608</c:v>
                </c:pt>
                <c:pt idx="58">
                  <c:v>103.17875814648538</c:v>
                </c:pt>
                <c:pt idx="59">
                  <c:v>104.62740769177941</c:v>
                </c:pt>
                <c:pt idx="60">
                  <c:v>106.34987041925514</c:v>
                </c:pt>
                <c:pt idx="61">
                  <c:v>106.50375488221974</c:v>
                </c:pt>
                <c:pt idx="62">
                  <c:v>107.21656632942138</c:v>
                </c:pt>
                <c:pt idx="63">
                  <c:v>106.34180355906942</c:v>
                </c:pt>
                <c:pt idx="64">
                  <c:v>104.83239297539433</c:v>
                </c:pt>
                <c:pt idx="65">
                  <c:v>105.16927926744525</c:v>
                </c:pt>
                <c:pt idx="66">
                  <c:v>107.11654846245663</c:v>
                </c:pt>
                <c:pt idx="67">
                  <c:v>108.24867281460085</c:v>
                </c:pt>
                <c:pt idx="68">
                  <c:v>108.49378493216618</c:v>
                </c:pt>
                <c:pt idx="69">
                  <c:v>109.09732404145852</c:v>
                </c:pt>
                <c:pt idx="70">
                  <c:v>110.66496095128083</c:v>
                </c:pt>
                <c:pt idx="71">
                  <c:v>112.78854836029242</c:v>
                </c:pt>
                <c:pt idx="72">
                  <c:v>113.94256711765244</c:v>
                </c:pt>
                <c:pt idx="73">
                  <c:v>114.15190952418791</c:v>
                </c:pt>
                <c:pt idx="74">
                  <c:v>113.76980438743716</c:v>
                </c:pt>
                <c:pt idx="75">
                  <c:v>113.39119667905571</c:v>
                </c:pt>
                <c:pt idx="76">
                  <c:v>113.51148594694257</c:v>
                </c:pt>
                <c:pt idx="77">
                  <c:v>113.09570798757481</c:v>
                </c:pt>
                <c:pt idx="78">
                  <c:v>113.01504084641695</c:v>
                </c:pt>
                <c:pt idx="79">
                  <c:v>112.97575847995741</c:v>
                </c:pt>
                <c:pt idx="80">
                  <c:v>112.29138534085919</c:v>
                </c:pt>
                <c:pt idx="81">
                  <c:v>112.53507055431345</c:v>
                </c:pt>
                <c:pt idx="82">
                  <c:v>112.25498897491352</c:v>
                </c:pt>
                <c:pt idx="83">
                  <c:v>114.51287818329673</c:v>
                </c:pt>
                <c:pt idx="84">
                  <c:v>116.59534558062035</c:v>
                </c:pt>
                <c:pt idx="85">
                  <c:v>116.75345641177026</c:v>
                </c:pt>
                <c:pt idx="86">
                  <c:v>116.55213874799777</c:v>
                </c:pt>
                <c:pt idx="87">
                  <c:v>116.54756384737669</c:v>
                </c:pt>
                <c:pt idx="88">
                  <c:v>117.49982107290656</c:v>
                </c:pt>
                <c:pt idx="89">
                  <c:v>118.48509127881331</c:v>
                </c:pt>
                <c:pt idx="90">
                  <c:v>118.43677840541949</c:v>
                </c:pt>
                <c:pt idx="91">
                  <c:v>117.88973891673157</c:v>
                </c:pt>
                <c:pt idx="92">
                  <c:v>118.70901430727726</c:v>
                </c:pt>
                <c:pt idx="93">
                  <c:v>118.91464008001788</c:v>
                </c:pt>
              </c:numCache>
            </c:numRef>
          </c:val>
          <c:smooth val="0"/>
          <c:extLst>
            <c:ext xmlns:c16="http://schemas.microsoft.com/office/drawing/2014/chart" uri="{C3380CC4-5D6E-409C-BE32-E72D297353CC}">
              <c16:uniqueId val="{00000000-04F6-4056-888D-8F5CF40817E6}"/>
            </c:ext>
          </c:extLst>
        </c:ser>
        <c:dLbls>
          <c:showLegendKey val="0"/>
          <c:showVal val="0"/>
          <c:showCatName val="0"/>
          <c:showSerName val="0"/>
          <c:showPercent val="0"/>
          <c:showBubbleSize val="0"/>
        </c:dLbls>
        <c:smooth val="0"/>
        <c:axId val="232481583"/>
        <c:axId val="937308415"/>
      </c:lineChart>
      <c:dateAx>
        <c:axId val="232481583"/>
        <c:scaling>
          <c:orientation val="minMax"/>
          <c:max val="45200"/>
          <c:min val="43739"/>
        </c:scaling>
        <c:delete val="0"/>
        <c:axPos val="b"/>
        <c:numFmt formatCode="mmm\-yy" sourceLinked="0"/>
        <c:majorTickMark val="none"/>
        <c:minorTickMark val="none"/>
        <c:tickLblPos val="low"/>
        <c:spPr>
          <a:noFill/>
          <a:ln w="9525" cap="flat" cmpd="sng" algn="ctr">
            <a:solidFill>
              <a:srgbClr val="000000"/>
            </a:solidFill>
            <a:round/>
          </a:ln>
          <a:effectLst/>
        </c:spPr>
        <c:txPr>
          <a:bodyPr rot="-5400000" spcFirstLastPara="1" vertOverflow="ellipsis" wrap="square" anchor="ctr" anchorCtr="1"/>
          <a:lstStyle/>
          <a:p>
            <a:pPr>
              <a:defRPr sz="1200" b="0" i="0" u="none" strike="noStrike" kern="1200" baseline="0">
                <a:solidFill>
                  <a:schemeClr val="tx1"/>
                </a:solidFill>
                <a:latin typeface="gobCL" panose="02000603050000020004"/>
                <a:ea typeface="Gadugi" panose="020B0502040204020203" pitchFamily="34" charset="0"/>
                <a:cs typeface="Helvetica"/>
              </a:defRPr>
            </a:pPr>
            <a:endParaRPr lang="es-CL"/>
          </a:p>
        </c:txPr>
        <c:crossAx val="937308415"/>
        <c:crossesAt val="100"/>
        <c:auto val="1"/>
        <c:lblOffset val="100"/>
        <c:baseTimeUnit val="months"/>
        <c:majorUnit val="4"/>
        <c:majorTimeUnit val="months"/>
      </c:dateAx>
      <c:valAx>
        <c:axId val="937308415"/>
        <c:scaling>
          <c:orientation val="minMax"/>
          <c:min val="90"/>
        </c:scaling>
        <c:delete val="0"/>
        <c:axPos val="l"/>
        <c:majorGridlines>
          <c:spPr>
            <a:ln w="9525" cap="flat" cmpd="sng" algn="ctr">
              <a:solidFill>
                <a:sysClr val="window" lastClr="FFFFFF">
                  <a:lumMod val="65000"/>
                </a:sysClr>
              </a:solidFill>
              <a:prstDash val="solid"/>
              <a:round/>
              <a:headEnd type="none" w="med" len="med"/>
              <a:tailEnd type="none" w="med" len="me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solidFill>
                <a:latin typeface="gobCL" panose="02000603050000020004"/>
                <a:ea typeface="Gadugi" panose="020B0502040204020203" pitchFamily="34" charset="0"/>
                <a:cs typeface="Helvetica"/>
              </a:defRPr>
            </a:pPr>
            <a:endParaRPr lang="es-CL"/>
          </a:p>
        </c:txPr>
        <c:crossAx val="2324815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200">
          <a:solidFill>
            <a:schemeClr val="tx1"/>
          </a:solidFill>
          <a:latin typeface="gobCL" panose="02000603050000020004"/>
          <a:ea typeface="Gadugi" panose="020B0502040204020203" pitchFamily="34" charset="0"/>
          <a:cs typeface="Helvetica"/>
        </a:defRPr>
      </a:pPr>
      <a:endParaRPr lang="es-CL"/>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rgbClr val="000000"/>
                </a:solidFill>
                <a:latin typeface="GobCL" panose="02000603050000020004"/>
                <a:ea typeface="Calibri"/>
                <a:cs typeface="Calibri"/>
              </a:defRPr>
            </a:pPr>
            <a:r>
              <a:rPr lang="es-ES" sz="1600" b="1"/>
              <a:t>Tasa de variación proyectada del PIB anualizado 2019-2024 de Chile y países seleccionados </a:t>
            </a:r>
            <a:r>
              <a:rPr lang="es-CL"/>
              <a:t>
</a:t>
            </a:r>
            <a:r>
              <a:rPr lang="es-CL" sz="1400"/>
              <a:t>(variación porcentual)</a:t>
            </a:r>
          </a:p>
        </c:rich>
      </c:tx>
      <c:overlay val="0"/>
      <c:spPr>
        <a:noFill/>
        <a:ln>
          <a:noFill/>
        </a:ln>
        <a:effectLst/>
      </c:spPr>
      <c:txPr>
        <a:bodyPr rot="0" spcFirstLastPara="1" vertOverflow="ellipsis" vert="horz" wrap="square" anchor="ctr" anchorCtr="1"/>
        <a:lstStyle/>
        <a:p>
          <a:pPr>
            <a:defRPr sz="1440" b="0" i="0" u="none" strike="noStrike" kern="1200" spc="0" baseline="0">
              <a:solidFill>
                <a:srgbClr val="000000"/>
              </a:solidFill>
              <a:latin typeface="GobCL" panose="02000603050000020004"/>
              <a:ea typeface="Calibri"/>
              <a:cs typeface="Calibri"/>
            </a:defRPr>
          </a:pPr>
          <a:endParaRPr lang="es-CL"/>
        </a:p>
      </c:txPr>
    </c:title>
    <c:autoTitleDeleted val="0"/>
    <c:plotArea>
      <c:layout/>
      <c:barChart>
        <c:barDir val="col"/>
        <c:grouping val="clustered"/>
        <c:varyColors val="0"/>
        <c:ser>
          <c:idx val="0"/>
          <c:order val="0"/>
          <c:spPr>
            <a:solidFill>
              <a:srgbClr val="1F4E79"/>
            </a:solidFill>
            <a:ln>
              <a:noFill/>
            </a:ln>
            <a:effectLst/>
          </c:spPr>
          <c:invertIfNegative val="0"/>
          <c:dPt>
            <c:idx val="7"/>
            <c:invertIfNegative val="0"/>
            <c:bubble3D val="0"/>
            <c:spPr>
              <a:solidFill>
                <a:srgbClr val="0082AF"/>
              </a:solidFill>
              <a:ln>
                <a:noFill/>
              </a:ln>
              <a:effectLst/>
            </c:spPr>
            <c:extLst>
              <c:ext xmlns:c16="http://schemas.microsoft.com/office/drawing/2014/chart" uri="{C3380CC4-5D6E-409C-BE32-E72D297353CC}">
                <c16:uniqueId val="{00000001-0AA2-4C96-B1EE-0F65114FF22F}"/>
              </c:ext>
            </c:extLst>
          </c:dPt>
          <c:dPt>
            <c:idx val="9"/>
            <c:invertIfNegative val="0"/>
            <c:bubble3D val="0"/>
            <c:spPr>
              <a:solidFill>
                <a:srgbClr val="80C0CD"/>
              </a:solidFill>
              <a:ln>
                <a:noFill/>
              </a:ln>
              <a:effectLst/>
            </c:spPr>
            <c:extLst>
              <c:ext xmlns:c16="http://schemas.microsoft.com/office/drawing/2014/chart" uri="{C3380CC4-5D6E-409C-BE32-E72D297353CC}">
                <c16:uniqueId val="{00000003-0AA2-4C96-B1EE-0F65114FF22F}"/>
              </c:ext>
            </c:extLst>
          </c:dPt>
          <c:cat>
            <c:strRef>
              <c:f>'[Comparación WEO.xlsx]Tabla'!$I$3:$I$22</c:f>
              <c:strCache>
                <c:ptCount val="20"/>
                <c:pt idx="0">
                  <c:v>Turquía</c:v>
                </c:pt>
                <c:pt idx="1">
                  <c:v>Panamá</c:v>
                </c:pt>
                <c:pt idx="2">
                  <c:v>Costa Rica</c:v>
                </c:pt>
                <c:pt idx="3">
                  <c:v>Croacia</c:v>
                </c:pt>
                <c:pt idx="4">
                  <c:v>Malasia</c:v>
                </c:pt>
                <c:pt idx="5">
                  <c:v>Colombia</c:v>
                </c:pt>
                <c:pt idx="6">
                  <c:v>Polonia</c:v>
                </c:pt>
                <c:pt idx="7">
                  <c:v>Promedio excl. Chile</c:v>
                </c:pt>
                <c:pt idx="8">
                  <c:v>Australia</c:v>
                </c:pt>
                <c:pt idx="9">
                  <c:v>Chile (1)</c:v>
                </c:pt>
                <c:pt idx="10">
                  <c:v>Nueva Zelanda</c:v>
                </c:pt>
                <c:pt idx="11">
                  <c:v>Brasil</c:v>
                </c:pt>
                <c:pt idx="12">
                  <c:v>Grecia</c:v>
                </c:pt>
                <c:pt idx="13">
                  <c:v>Uruguay</c:v>
                </c:pt>
                <c:pt idx="14">
                  <c:v>Perú</c:v>
                </c:pt>
                <c:pt idx="15">
                  <c:v>Canadá</c:v>
                </c:pt>
                <c:pt idx="16">
                  <c:v>México</c:v>
                </c:pt>
                <c:pt idx="17">
                  <c:v>Argentina</c:v>
                </c:pt>
                <c:pt idx="18">
                  <c:v>Tailandia</c:v>
                </c:pt>
                <c:pt idx="19">
                  <c:v>Sudáfrica</c:v>
                </c:pt>
              </c:strCache>
            </c:strRef>
          </c:cat>
          <c:val>
            <c:numRef>
              <c:f>'[Comparación WEO.xlsx]Tabla'!$J$3:$J$22</c:f>
              <c:numCache>
                <c:formatCode>General</c:formatCode>
                <c:ptCount val="20"/>
                <c:pt idx="0">
                  <c:v>5.1020396377949861</c:v>
                </c:pt>
                <c:pt idx="1">
                  <c:v>3.1012943959867423</c:v>
                </c:pt>
                <c:pt idx="2">
                  <c:v>3.0047531780380332</c:v>
                </c:pt>
                <c:pt idx="3">
                  <c:v>2.9724394272487409</c:v>
                </c:pt>
                <c:pt idx="4">
                  <c:v>2.8390702114658994</c:v>
                </c:pt>
                <c:pt idx="5">
                  <c:v>2.6992293319642702</c:v>
                </c:pt>
                <c:pt idx="6">
                  <c:v>2.5286637532911715</c:v>
                </c:pt>
                <c:pt idx="7">
                  <c:v>2.0747137678363421</c:v>
                </c:pt>
                <c:pt idx="8">
                  <c:v>1.9885342126087835</c:v>
                </c:pt>
                <c:pt idx="9">
                  <c:v>1.9459599970900632</c:v>
                </c:pt>
                <c:pt idx="10">
                  <c:v>1.8521368581355668</c:v>
                </c:pt>
                <c:pt idx="11">
                  <c:v>1.8018593602719513</c:v>
                </c:pt>
                <c:pt idx="12">
                  <c:v>1.7745519142814858</c:v>
                </c:pt>
                <c:pt idx="13">
                  <c:v>1.5461207817444533</c:v>
                </c:pt>
                <c:pt idx="14">
                  <c:v>1.4926275876246065</c:v>
                </c:pt>
                <c:pt idx="15">
                  <c:v>1.1954401467150877</c:v>
                </c:pt>
                <c:pt idx="16">
                  <c:v>1.1453380410500591</c:v>
                </c:pt>
                <c:pt idx="17">
                  <c:v>0.95950598778418161</c:v>
                </c:pt>
                <c:pt idx="18">
                  <c:v>0.72705243328807789</c:v>
                </c:pt>
                <c:pt idx="19">
                  <c:v>0.61419056176006404</c:v>
                </c:pt>
              </c:numCache>
            </c:numRef>
          </c:val>
          <c:extLst>
            <c:ext xmlns:c16="http://schemas.microsoft.com/office/drawing/2014/chart" uri="{C3380CC4-5D6E-409C-BE32-E72D297353CC}">
              <c16:uniqueId val="{00000004-0AA2-4C96-B1EE-0F65114FF22F}"/>
            </c:ext>
          </c:extLst>
        </c:ser>
        <c:dLbls>
          <c:showLegendKey val="0"/>
          <c:showVal val="0"/>
          <c:showCatName val="0"/>
          <c:showSerName val="0"/>
          <c:showPercent val="0"/>
          <c:showBubbleSize val="0"/>
        </c:dLbls>
        <c:gapWidth val="219"/>
        <c:overlap val="-27"/>
        <c:axId val="1941677920"/>
        <c:axId val="1946896320"/>
      </c:barChart>
      <c:catAx>
        <c:axId val="1941677920"/>
        <c:scaling>
          <c:orientation val="minMax"/>
        </c:scaling>
        <c:delete val="0"/>
        <c:axPos val="b"/>
        <c:numFmt formatCode="mmm\-yy" sourceLinked="0"/>
        <c:majorTickMark val="none"/>
        <c:minorTickMark val="none"/>
        <c:tickLblPos val="low"/>
        <c:spPr>
          <a:noFill/>
          <a:ln w="9525" cap="flat" cmpd="sng" algn="ctr">
            <a:solidFill>
              <a:srgbClr val="000000"/>
            </a:solidFill>
            <a:round/>
          </a:ln>
          <a:effectLst/>
        </c:spPr>
        <c:txPr>
          <a:bodyPr rot="-5400000" spcFirstLastPara="1" vertOverflow="ellipsis" wrap="square" anchor="ctr" anchorCtr="1"/>
          <a:lstStyle/>
          <a:p>
            <a:pPr>
              <a:defRPr sz="1200" b="0" i="0" u="none" strike="noStrike" kern="1200" baseline="0">
                <a:solidFill>
                  <a:srgbClr val="000000"/>
                </a:solidFill>
                <a:latin typeface="GobCL" panose="02000603050000020004"/>
                <a:ea typeface="Calibri"/>
                <a:cs typeface="Calibri"/>
              </a:defRPr>
            </a:pPr>
            <a:endParaRPr lang="es-CL"/>
          </a:p>
        </c:txPr>
        <c:crossAx val="1946896320"/>
        <c:crosses val="autoZero"/>
        <c:auto val="1"/>
        <c:lblAlgn val="ctr"/>
        <c:lblOffset val="100"/>
        <c:noMultiLvlLbl val="0"/>
      </c:catAx>
      <c:valAx>
        <c:axId val="1946896320"/>
        <c:scaling>
          <c:orientation val="minMax"/>
        </c:scaling>
        <c:delete val="0"/>
        <c:axPos val="l"/>
        <c:majorGridlines>
          <c:spPr>
            <a:ln w="9525" cap="flat" cmpd="sng" algn="ctr">
              <a:solidFill>
                <a:sysClr val="window" lastClr="FFFFFF">
                  <a:lumMod val="65000"/>
                </a:sysClr>
              </a:solidFill>
              <a:prstDash val="solid"/>
              <a:round/>
              <a:headEnd type="none" w="med" len="med"/>
              <a:tailEnd type="none" w="med" len="me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rgbClr val="000000"/>
                </a:solidFill>
                <a:latin typeface="GobCL" panose="02000603050000020004"/>
                <a:ea typeface="Calibri"/>
                <a:cs typeface="Calibri"/>
              </a:defRPr>
            </a:pPr>
            <a:endParaRPr lang="es-CL"/>
          </a:p>
        </c:txPr>
        <c:crossAx val="194167792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200">
          <a:solidFill>
            <a:srgbClr val="000000"/>
          </a:solidFill>
          <a:latin typeface="GobCL" panose="02000603050000020004"/>
          <a:ea typeface="Calibri"/>
          <a:cs typeface="Calibri"/>
        </a:defRPr>
      </a:pPr>
      <a:endParaRPr lang="es-CL"/>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spPr>
            <a:effectLst/>
          </c:spPr>
          <c:dPt>
            <c:idx val="0"/>
            <c:bubble3D val="0"/>
            <c:spPr>
              <a:solidFill>
                <a:srgbClr val="004677"/>
              </a:solidFill>
              <a:ln>
                <a:noFill/>
              </a:ln>
              <a:effectLst/>
            </c:spPr>
            <c:extLst>
              <c:ext xmlns:c16="http://schemas.microsoft.com/office/drawing/2014/chart" uri="{C3380CC4-5D6E-409C-BE32-E72D297353CC}">
                <c16:uniqueId val="{00000001-55C4-4526-A582-544356676A4C}"/>
              </c:ext>
            </c:extLst>
          </c:dPt>
          <c:dPt>
            <c:idx val="1"/>
            <c:bubble3D val="0"/>
            <c:spPr>
              <a:solidFill>
                <a:srgbClr val="0082AF"/>
              </a:solidFill>
              <a:ln>
                <a:noFill/>
              </a:ln>
              <a:effectLst/>
            </c:spPr>
            <c:extLst>
              <c:ext xmlns:c16="http://schemas.microsoft.com/office/drawing/2014/chart" uri="{C3380CC4-5D6E-409C-BE32-E72D297353CC}">
                <c16:uniqueId val="{00000003-55C4-4526-A582-544356676A4C}"/>
              </c:ext>
            </c:extLst>
          </c:dPt>
          <c:dPt>
            <c:idx val="2"/>
            <c:bubble3D val="0"/>
            <c:spPr>
              <a:solidFill>
                <a:srgbClr val="81C0CD"/>
              </a:solidFill>
              <a:ln>
                <a:solidFill>
                  <a:schemeClr val="bg1"/>
                </a:solidFill>
              </a:ln>
              <a:effectLst/>
            </c:spPr>
            <c:extLst>
              <c:ext xmlns:c16="http://schemas.microsoft.com/office/drawing/2014/chart" uri="{C3380CC4-5D6E-409C-BE32-E72D297353CC}">
                <c16:uniqueId val="{00000005-55C4-4526-A582-544356676A4C}"/>
              </c:ext>
            </c:extLst>
          </c:dPt>
          <c:dLbls>
            <c:dLbl>
              <c:idx val="0"/>
              <c:layout>
                <c:manualLayout>
                  <c:x val="1.1258507623892698E-3"/>
                  <c:y val="-8.6941913965054726E-2"/>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55C4-4526-A582-544356676A4C}"/>
                </c:ext>
              </c:extLst>
            </c:dLbl>
            <c:dLbl>
              <c:idx val="1"/>
              <c:layout>
                <c:manualLayout>
                  <c:x val="9.8663984855457652E-3"/>
                  <c:y val="-3.8689787114777718E-2"/>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55C4-4526-A582-544356676A4C}"/>
                </c:ext>
              </c:extLst>
            </c:dLbl>
            <c:dLbl>
              <c:idx val="2"/>
              <c:layout>
                <c:manualLayout>
                  <c:x val="1.9037264886957228E-2"/>
                  <c:y val="1.1461577429187679E-2"/>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55C4-4526-A582-544356676A4C}"/>
                </c:ext>
              </c:extLst>
            </c:dLbl>
            <c:spPr>
              <a:noFill/>
              <a:ln>
                <a:noFill/>
              </a:ln>
              <a:effectLst/>
            </c:spPr>
            <c:txPr>
              <a:bodyPr rot="0" spcFirstLastPara="1" vertOverflow="ellipsis" vert="horz" wrap="square" anchor="ctr" anchorCtr="1"/>
              <a:lstStyle/>
              <a:p>
                <a:pPr>
                  <a:defRPr sz="1200" b="1" i="0" u="none" strike="noStrike" kern="1200" baseline="0">
                    <a:solidFill>
                      <a:schemeClr val="lt1"/>
                    </a:solidFill>
                    <a:latin typeface="+mn-lt"/>
                    <a:ea typeface="+mn-ea"/>
                    <a:cs typeface="+mn-cs"/>
                  </a:defRPr>
                </a:pPr>
                <a:endParaRPr lang="es-CL"/>
              </a:p>
            </c:txPr>
            <c:dLblPos val="ct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gráficos de torta.xlsx]Hoja1'!$B$11:$B$13</c:f>
              <c:strCache>
                <c:ptCount val="3"/>
                <c:pt idx="0">
                  <c:v>Completado</c:v>
                </c:pt>
                <c:pt idx="1">
                  <c:v>En Desarrollo</c:v>
                </c:pt>
                <c:pt idx="2">
                  <c:v>Pendiente</c:v>
                </c:pt>
              </c:strCache>
            </c:strRef>
          </c:cat>
          <c:val>
            <c:numRef>
              <c:f>'[gráficos de torta.xlsx]Hoja1'!$C$11:$C$13</c:f>
              <c:numCache>
                <c:formatCode>General</c:formatCode>
                <c:ptCount val="3"/>
                <c:pt idx="0">
                  <c:v>6</c:v>
                </c:pt>
                <c:pt idx="1">
                  <c:v>3</c:v>
                </c:pt>
                <c:pt idx="2">
                  <c:v>1</c:v>
                </c:pt>
              </c:numCache>
            </c:numRef>
          </c:val>
          <c:extLst>
            <c:ext xmlns:c16="http://schemas.microsoft.com/office/drawing/2014/chart" uri="{C3380CC4-5D6E-409C-BE32-E72D297353CC}">
              <c16:uniqueId val="{00000006-55C4-4526-A582-544356676A4C}"/>
            </c:ext>
          </c:extLst>
        </c:ser>
        <c:dLbls>
          <c:dLblPos val="ctr"/>
          <c:showLegendKey val="0"/>
          <c:showVal val="0"/>
          <c:showCatName val="0"/>
          <c:showSerName val="0"/>
          <c:showPercent val="1"/>
          <c:showBubbleSize val="0"/>
          <c:showLeaderLines val="1"/>
        </c:dLbls>
        <c:firstSliceAng val="0"/>
      </c:pieChart>
      <c:spPr>
        <a:noFill/>
        <a:ln>
          <a:noFill/>
        </a:ln>
        <a:effectLst/>
      </c:spPr>
    </c:plotArea>
    <c:legend>
      <c:legendPos val="r"/>
      <c:layout>
        <c:manualLayout>
          <c:xMode val="edge"/>
          <c:yMode val="edge"/>
          <c:x val="0.73970046141698775"/>
          <c:y val="0.33087601685812817"/>
          <c:w val="0.22906893584009116"/>
          <c:h val="0.36174646308324093"/>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dk1">
                  <a:lumMod val="75000"/>
                  <a:lumOff val="25000"/>
                </a:schemeClr>
              </a:solidFill>
              <a:latin typeface="+mn-lt"/>
              <a:ea typeface="+mn-ea"/>
              <a:cs typeface="+mn-cs"/>
            </a:defRPr>
          </a:pPr>
          <a:endParaRPr lang="es-CL"/>
        </a:p>
      </c:txPr>
    </c:legend>
    <c:plotVisOnly val="1"/>
    <c:dispBlanksAs val="gap"/>
    <c:showDLblsOverMax val="0"/>
  </c:chart>
  <c:spPr>
    <a:noFill/>
    <a:ln w="9525" cap="flat" cmpd="sng" algn="ctr">
      <a:noFill/>
      <a:round/>
    </a:ln>
    <a:effectLst/>
  </c:spPr>
  <c:txPr>
    <a:bodyPr/>
    <a:lstStyle/>
    <a:p>
      <a:pPr>
        <a:defRPr sz="1200"/>
      </a:pPr>
      <a:endParaRPr lang="es-CL"/>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spPr>
            <a:effectLst/>
          </c:spPr>
          <c:dPt>
            <c:idx val="0"/>
            <c:bubble3D val="0"/>
            <c:spPr>
              <a:solidFill>
                <a:srgbClr val="004677"/>
              </a:solidFill>
              <a:ln>
                <a:noFill/>
              </a:ln>
              <a:effectLst/>
            </c:spPr>
            <c:extLst>
              <c:ext xmlns:c16="http://schemas.microsoft.com/office/drawing/2014/chart" uri="{C3380CC4-5D6E-409C-BE32-E72D297353CC}">
                <c16:uniqueId val="{00000001-F708-9740-9D52-0E4923B08538}"/>
              </c:ext>
            </c:extLst>
          </c:dPt>
          <c:dPt>
            <c:idx val="1"/>
            <c:bubble3D val="0"/>
            <c:spPr>
              <a:solidFill>
                <a:srgbClr val="0082AF"/>
              </a:solidFill>
              <a:ln>
                <a:noFill/>
              </a:ln>
              <a:effectLst/>
            </c:spPr>
            <c:extLst>
              <c:ext xmlns:c16="http://schemas.microsoft.com/office/drawing/2014/chart" uri="{C3380CC4-5D6E-409C-BE32-E72D297353CC}">
                <c16:uniqueId val="{00000003-F708-9740-9D52-0E4923B08538}"/>
              </c:ext>
            </c:extLst>
          </c:dPt>
          <c:dPt>
            <c:idx val="2"/>
            <c:bubble3D val="0"/>
            <c:spPr>
              <a:solidFill>
                <a:srgbClr val="81C0CD"/>
              </a:solidFill>
              <a:ln>
                <a:noFill/>
              </a:ln>
              <a:effectLst/>
            </c:spPr>
            <c:extLst>
              <c:ext xmlns:c16="http://schemas.microsoft.com/office/drawing/2014/chart" uri="{C3380CC4-5D6E-409C-BE32-E72D297353CC}">
                <c16:uniqueId val="{00000005-F708-9740-9D52-0E4923B08538}"/>
              </c:ext>
            </c:extLst>
          </c:dPt>
          <c:dLbls>
            <c:dLbl>
              <c:idx val="0"/>
              <c:layout>
                <c:manualLayout>
                  <c:x val="-9.5897864604723593E-3"/>
                  <c:y val="-2.6283814450843674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F708-9740-9D52-0E4923B08538}"/>
                </c:ext>
              </c:extLst>
            </c:dLbl>
            <c:dLbl>
              <c:idx val="1"/>
              <c:layout>
                <c:manualLayout>
                  <c:x val="4.0999811678831101E-3"/>
                  <c:y val="-3.5293511697500382E-4"/>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F708-9740-9D52-0E4923B08538}"/>
                </c:ext>
              </c:extLst>
            </c:dLbl>
            <c:dLbl>
              <c:idx val="2"/>
              <c:layout>
                <c:manualLayout>
                  <c:x val="1.235740356327128E-2"/>
                  <c:y val="6.3104624766887338E-4"/>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F708-9740-9D52-0E4923B08538}"/>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004677"/>
                    </a:solidFill>
                    <a:latin typeface="+mn-lt"/>
                    <a:ea typeface="+mn-ea"/>
                    <a:cs typeface="+mn-cs"/>
                  </a:defRPr>
                </a:pPr>
                <a:endParaRPr lang="es-CL"/>
              </a:p>
            </c:txP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gráficos de torta.xlsx]Hoja1'!$B$4:$B$6</c:f>
              <c:strCache>
                <c:ptCount val="3"/>
                <c:pt idx="0">
                  <c:v>Completado</c:v>
                </c:pt>
                <c:pt idx="1">
                  <c:v>En Desarrollo</c:v>
                </c:pt>
                <c:pt idx="2">
                  <c:v>Pendiente</c:v>
                </c:pt>
              </c:strCache>
            </c:strRef>
          </c:cat>
          <c:val>
            <c:numRef>
              <c:f>'[gráficos de torta.xlsx]Hoja1'!$C$4:$C$6</c:f>
              <c:numCache>
                <c:formatCode>General</c:formatCode>
                <c:ptCount val="3"/>
                <c:pt idx="0">
                  <c:v>30</c:v>
                </c:pt>
                <c:pt idx="1">
                  <c:v>23</c:v>
                </c:pt>
                <c:pt idx="2">
                  <c:v>2</c:v>
                </c:pt>
              </c:numCache>
            </c:numRef>
          </c:val>
          <c:extLst>
            <c:ext xmlns:c16="http://schemas.microsoft.com/office/drawing/2014/chart" uri="{C3380CC4-5D6E-409C-BE32-E72D297353CC}">
              <c16:uniqueId val="{00000006-F708-9740-9D52-0E4923B08538}"/>
            </c:ext>
          </c:extLst>
        </c:ser>
        <c:dLbls>
          <c:showLegendKey val="0"/>
          <c:showVal val="0"/>
          <c:showCatName val="0"/>
          <c:showSerName val="0"/>
          <c:showPercent val="1"/>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a:pPr>
      <a:endParaRPr lang="es-CL"/>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spPr>
            <a:effectLst/>
          </c:spPr>
          <c:dPt>
            <c:idx val="0"/>
            <c:bubble3D val="0"/>
            <c:spPr>
              <a:solidFill>
                <a:srgbClr val="004677"/>
              </a:solidFill>
              <a:ln>
                <a:noFill/>
              </a:ln>
              <a:effectLst/>
            </c:spPr>
            <c:extLst>
              <c:ext xmlns:c16="http://schemas.microsoft.com/office/drawing/2014/chart" uri="{C3380CC4-5D6E-409C-BE32-E72D297353CC}">
                <c16:uniqueId val="{00000001-E716-7A49-930A-972CAE9F04E8}"/>
              </c:ext>
            </c:extLst>
          </c:dPt>
          <c:dPt>
            <c:idx val="1"/>
            <c:bubble3D val="0"/>
            <c:spPr>
              <a:solidFill>
                <a:srgbClr val="0082AF"/>
              </a:solidFill>
              <a:ln>
                <a:noFill/>
              </a:ln>
              <a:effectLst/>
            </c:spPr>
            <c:extLst>
              <c:ext xmlns:c16="http://schemas.microsoft.com/office/drawing/2014/chart" uri="{C3380CC4-5D6E-409C-BE32-E72D297353CC}">
                <c16:uniqueId val="{00000003-E716-7A49-930A-972CAE9F04E8}"/>
              </c:ext>
            </c:extLst>
          </c:dPt>
          <c:dPt>
            <c:idx val="2"/>
            <c:bubble3D val="0"/>
            <c:spPr>
              <a:solidFill>
                <a:srgbClr val="81C0CD"/>
              </a:solidFill>
              <a:ln>
                <a:noFill/>
              </a:ln>
              <a:effectLst/>
            </c:spPr>
            <c:extLst>
              <c:ext xmlns:c16="http://schemas.microsoft.com/office/drawing/2014/chart" uri="{C3380CC4-5D6E-409C-BE32-E72D297353CC}">
                <c16:uniqueId val="{00000005-E716-7A49-930A-972CAE9F04E8}"/>
              </c:ext>
            </c:extLst>
          </c:dPt>
          <c:dLbls>
            <c:spPr>
              <a:noFill/>
              <a:ln>
                <a:noFill/>
              </a:ln>
              <a:effectLst/>
            </c:spPr>
            <c:txPr>
              <a:bodyPr rot="0" spcFirstLastPara="1" vertOverflow="ellipsis" vert="horz" wrap="square" anchor="ctr" anchorCtr="1"/>
              <a:lstStyle/>
              <a:p>
                <a:pPr>
                  <a:defRPr sz="1200" b="1" i="0" u="none" strike="noStrike" kern="1200" baseline="0">
                    <a:solidFill>
                      <a:srgbClr val="1F4E79"/>
                    </a:solidFill>
                    <a:latin typeface="+mn-lt"/>
                    <a:ea typeface="+mn-ea"/>
                    <a:cs typeface="+mn-cs"/>
                  </a:defRPr>
                </a:pPr>
                <a:endParaRPr lang="es-CL"/>
              </a:p>
            </c:txPr>
            <c:dLblPos val="outEnd"/>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gráficos de torta.xlsx]Hoja1'!$B$11:$B$13</c:f>
              <c:strCache>
                <c:ptCount val="3"/>
                <c:pt idx="0">
                  <c:v>Completado</c:v>
                </c:pt>
                <c:pt idx="1">
                  <c:v>En Desarrollo</c:v>
                </c:pt>
                <c:pt idx="2">
                  <c:v>Pendiente</c:v>
                </c:pt>
              </c:strCache>
            </c:strRef>
          </c:cat>
          <c:val>
            <c:numRef>
              <c:f>'[gráficos de torta.xlsx]Hoja1'!$C$11:$C$13</c:f>
              <c:numCache>
                <c:formatCode>General</c:formatCode>
                <c:ptCount val="3"/>
                <c:pt idx="0">
                  <c:v>6</c:v>
                </c:pt>
                <c:pt idx="1">
                  <c:v>3</c:v>
                </c:pt>
                <c:pt idx="2">
                  <c:v>1</c:v>
                </c:pt>
              </c:numCache>
            </c:numRef>
          </c:val>
          <c:extLst>
            <c:ext xmlns:c16="http://schemas.microsoft.com/office/drawing/2014/chart" uri="{C3380CC4-5D6E-409C-BE32-E72D297353CC}">
              <c16:uniqueId val="{00000006-E716-7A49-930A-972CAE9F04E8}"/>
            </c:ext>
          </c:extLst>
        </c:ser>
        <c:dLbls>
          <c:dLblPos val="ctr"/>
          <c:showLegendKey val="0"/>
          <c:showVal val="0"/>
          <c:showCatName val="0"/>
          <c:showSerName val="0"/>
          <c:showPercent val="1"/>
          <c:showBubbleSize val="0"/>
          <c:showLeaderLines val="1"/>
        </c:dLbls>
        <c:firstSliceAng val="0"/>
      </c:pieChart>
      <c:spPr>
        <a:noFill/>
        <a:ln>
          <a:noFill/>
        </a:ln>
        <a:effectLst/>
      </c:spPr>
    </c:plotArea>
    <c:plotVisOnly val="1"/>
    <c:dispBlanksAs val="gap"/>
    <c:showDLblsOverMax val="0"/>
  </c:chart>
  <c:spPr>
    <a:noFill/>
    <a:ln w="9525" cap="flat" cmpd="sng" algn="ctr">
      <a:noFill/>
      <a:round/>
    </a:ln>
    <a:effectLst/>
  </c:spPr>
  <c:txPr>
    <a:bodyPr/>
    <a:lstStyle/>
    <a:p>
      <a:pPr>
        <a:defRPr sz="1200"/>
      </a:pPr>
      <a:endParaRPr lang="es-CL"/>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r>
              <a:rPr lang="es-CL" b="1" err="1">
                <a:latin typeface="gobCL" pitchFamily="50" charset="0"/>
              </a:rPr>
              <a:t>N°</a:t>
            </a:r>
            <a:r>
              <a:rPr lang="es-CL" b="1">
                <a:latin typeface="gobCL" pitchFamily="50" charset="0"/>
              </a:rPr>
              <a:t> de beneficiarios estimado</a:t>
            </a:r>
          </a:p>
          <a:p>
            <a:pPr>
              <a:defRPr b="1"/>
            </a:pPr>
            <a:r>
              <a:rPr lang="es-CL" sz="1200" b="0">
                <a:latin typeface="gobCL" pitchFamily="50" charset="0"/>
              </a:rPr>
              <a:t>PERIODO 2023-2024</a:t>
            </a:r>
          </a:p>
        </c:rich>
      </c:tx>
      <c:overlay val="0"/>
      <c:spPr>
        <a:noFill/>
        <a:ln>
          <a:noFill/>
        </a:ln>
        <a:effectLst/>
      </c:spPr>
      <c:txPr>
        <a:bodyPr rot="0" spcFirstLastPara="1" vertOverflow="ellipsis" vert="horz" wrap="square" anchor="ctr" anchorCtr="1"/>
        <a:lstStyle/>
        <a:p>
          <a:pPr>
            <a:defRPr sz="1400" b="1" i="0" u="none" strike="noStrike" kern="1200" spc="0" baseline="0">
              <a:solidFill>
                <a:schemeClr val="tx1">
                  <a:lumMod val="65000"/>
                  <a:lumOff val="35000"/>
                </a:schemeClr>
              </a:solidFill>
              <a:latin typeface="+mn-lt"/>
              <a:ea typeface="+mn-ea"/>
              <a:cs typeface="+mn-cs"/>
            </a:defRPr>
          </a:pPr>
          <a:endParaRPr lang="es-CL"/>
        </a:p>
      </c:txPr>
    </c:title>
    <c:autoTitleDeleted val="0"/>
    <c:plotArea>
      <c:layout/>
      <c:barChart>
        <c:barDir val="col"/>
        <c:grouping val="clustered"/>
        <c:varyColors val="0"/>
        <c:ser>
          <c:idx val="0"/>
          <c:order val="0"/>
          <c:tx>
            <c:strRef>
              <c:f>'[20231025 Ejemplo planilla calculo_agregada TABLA LIMPIA 5-12.xlsx]Cobertura'!$M$54</c:f>
              <c:strCache>
                <c:ptCount val="1"/>
                <c:pt idx="0">
                  <c:v>Funcionarios</c:v>
                </c:pt>
              </c:strCache>
            </c:strRef>
          </c:tx>
          <c:spPr>
            <a:solidFill>
              <a:srgbClr val="1F4E7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1F4E79"/>
                    </a:solidFill>
                    <a:latin typeface="gobCL" pitchFamily="50" charset="0"/>
                    <a:ea typeface="+mn-ea"/>
                    <a:cs typeface="+mn-cs"/>
                  </a:defRPr>
                </a:pPr>
                <a:endParaRPr lang="es-CL"/>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20231025 Ejemplo planilla calculo_agregada TABLA LIMPIA 5-12.xlsx]Cobertura'!$L$55:$L$57</c:f>
              <c:strCache>
                <c:ptCount val="3"/>
                <c:pt idx="0">
                  <c:v>Reajuste</c:v>
                </c:pt>
                <c:pt idx="1">
                  <c:v>Activos</c:v>
                </c:pt>
                <c:pt idx="2">
                  <c:v>Pasivos</c:v>
                </c:pt>
              </c:strCache>
            </c:strRef>
          </c:cat>
          <c:val>
            <c:numRef>
              <c:f>'[20231025 Ejemplo planilla calculo_agregada TABLA LIMPIA 5-12.xlsx]Cobertura'!$M$55:$M$57</c:f>
              <c:numCache>
                <c:formatCode>_(* #,##0_);_(* \(#,##0\);_(* "-"_);_(@_)</c:formatCode>
                <c:ptCount val="3"/>
                <c:pt idx="0">
                  <c:v>844933.9929112196</c:v>
                </c:pt>
                <c:pt idx="1">
                  <c:v>1094052.6098273974</c:v>
                </c:pt>
                <c:pt idx="2" formatCode="#,##0">
                  <c:v>2852909</c:v>
                </c:pt>
              </c:numCache>
            </c:numRef>
          </c:val>
          <c:extLst>
            <c:ext xmlns:c16="http://schemas.microsoft.com/office/drawing/2014/chart" uri="{C3380CC4-5D6E-409C-BE32-E72D297353CC}">
              <c16:uniqueId val="{00000000-5FA0-41E2-BE4C-E9654330FC9C}"/>
            </c:ext>
          </c:extLst>
        </c:ser>
        <c:dLbls>
          <c:dLblPos val="outEnd"/>
          <c:showLegendKey val="0"/>
          <c:showVal val="1"/>
          <c:showCatName val="0"/>
          <c:showSerName val="0"/>
          <c:showPercent val="0"/>
          <c:showBubbleSize val="0"/>
        </c:dLbls>
        <c:gapWidth val="219"/>
        <c:overlap val="-27"/>
        <c:axId val="2086025648"/>
        <c:axId val="55899200"/>
      </c:barChart>
      <c:catAx>
        <c:axId val="2086025648"/>
        <c:scaling>
          <c:orientation val="minMax"/>
        </c:scaling>
        <c:delete val="0"/>
        <c:axPos val="b"/>
        <c:numFmt formatCode="General" sourceLinked="1"/>
        <c:majorTickMark val="none"/>
        <c:minorTickMark val="none"/>
        <c:tickLblPos val="nextTo"/>
        <c:spPr>
          <a:noFill/>
          <a:ln w="9525" cap="flat" cmpd="sng" algn="ctr">
            <a:solidFill>
              <a:schemeClr val="bg2">
                <a:lumMod val="2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s-CL"/>
          </a:p>
        </c:txPr>
        <c:crossAx val="55899200"/>
        <c:crosses val="autoZero"/>
        <c:auto val="1"/>
        <c:lblAlgn val="ctr"/>
        <c:lblOffset val="100"/>
        <c:noMultiLvlLbl val="0"/>
      </c:catAx>
      <c:valAx>
        <c:axId val="55899200"/>
        <c:scaling>
          <c:orientation val="minMax"/>
        </c:scaling>
        <c:delete val="0"/>
        <c:axPos val="l"/>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gobCL" pitchFamily="50" charset="0"/>
                <a:ea typeface="+mn-ea"/>
                <a:cs typeface="+mn-cs"/>
              </a:defRPr>
            </a:pPr>
            <a:endParaRPr lang="es-CL"/>
          </a:p>
        </c:txPr>
        <c:crossAx val="2086025648"/>
        <c:crosses val="autoZero"/>
        <c:crossBetween val="between"/>
      </c:valAx>
      <c:spPr>
        <a:solidFill>
          <a:schemeClr val="tx1">
            <a:alpha val="0"/>
          </a:schemeClr>
        </a:solid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C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solidFill>
                <a:latin typeface="gobCL" pitchFamily="50" charset="0"/>
                <a:ea typeface="Helvetica"/>
                <a:cs typeface="Helvetica"/>
              </a:defRPr>
            </a:pPr>
            <a:r>
              <a:rPr lang="es-CL" b="1">
                <a:solidFill>
                  <a:schemeClr val="tx1"/>
                </a:solidFill>
              </a:rPr>
              <a:t>Inflación</a:t>
            </a:r>
            <a:r>
              <a:rPr lang="es-CL">
                <a:solidFill>
                  <a:schemeClr val="tx1"/>
                </a:solidFill>
              </a:rPr>
              <a:t>
</a:t>
            </a:r>
            <a:r>
              <a:rPr lang="es-CL" sz="1200">
                <a:solidFill>
                  <a:schemeClr val="tx1"/>
                </a:solidFill>
              </a:rPr>
              <a:t>(variación</a:t>
            </a:r>
            <a:r>
              <a:rPr lang="es-CL" sz="1200" baseline="0">
                <a:solidFill>
                  <a:schemeClr val="tx1"/>
                </a:solidFill>
              </a:rPr>
              <a:t> anual, %</a:t>
            </a:r>
            <a:r>
              <a:rPr lang="es-CL" sz="1200">
                <a:solidFill>
                  <a:schemeClr val="tx1"/>
                </a:solidFill>
              </a:rPr>
              <a:t>)</a:t>
            </a:r>
          </a:p>
        </c:rich>
      </c:tx>
      <c:overlay val="0"/>
      <c:spPr>
        <a:noFill/>
        <a:ln>
          <a:noFill/>
        </a:ln>
        <a:effectLst/>
      </c:spPr>
      <c:txPr>
        <a:bodyPr rot="0" spcFirstLastPara="1" vertOverflow="ellipsis" vert="horz" wrap="square" anchor="ctr" anchorCtr="1"/>
        <a:lstStyle/>
        <a:p>
          <a:pPr>
            <a:defRPr sz="1440" b="0" i="0" u="none" strike="noStrike" kern="1200" spc="0" baseline="0">
              <a:solidFill>
                <a:schemeClr val="tx1"/>
              </a:solidFill>
              <a:latin typeface="gobCL" pitchFamily="50" charset="0"/>
              <a:ea typeface="Helvetica"/>
              <a:cs typeface="Helvetica"/>
            </a:defRPr>
          </a:pPr>
          <a:endParaRPr lang="es-CL"/>
        </a:p>
      </c:txPr>
    </c:title>
    <c:autoTitleDeleted val="0"/>
    <c:plotArea>
      <c:layout/>
      <c:barChart>
        <c:barDir val="col"/>
        <c:grouping val="clustered"/>
        <c:varyColors val="0"/>
        <c:ser>
          <c:idx val="0"/>
          <c:order val="0"/>
          <c:spPr>
            <a:solidFill>
              <a:schemeClr val="accent5">
                <a:lumMod val="75000"/>
              </a:schemeClr>
            </a:solidFill>
            <a:ln>
              <a:noFill/>
              <a:round/>
            </a:ln>
            <a:effectLst/>
          </c:spPr>
          <c:invertIfNegative val="0"/>
          <c:dPt>
            <c:idx val="0"/>
            <c:invertIfNegative val="0"/>
            <c:bubble3D val="0"/>
            <c:spPr>
              <a:solidFill>
                <a:srgbClr val="1F4E79"/>
              </a:solidFill>
              <a:ln>
                <a:noFill/>
                <a:round/>
              </a:ln>
              <a:effectLst/>
            </c:spPr>
            <c:extLst>
              <c:ext xmlns:c16="http://schemas.microsoft.com/office/drawing/2014/chart" uri="{C3380CC4-5D6E-409C-BE32-E72D297353CC}">
                <c16:uniqueId val="{00000001-AA0B-451C-8E16-FF3A699F14F1}"/>
              </c:ext>
            </c:extLst>
          </c:dPt>
          <c:dPt>
            <c:idx val="1"/>
            <c:invertIfNegative val="0"/>
            <c:bubble3D val="0"/>
            <c:spPr>
              <a:solidFill>
                <a:srgbClr val="80C0CD"/>
              </a:solidFill>
              <a:ln>
                <a:noFill/>
                <a:round/>
              </a:ln>
              <a:effectLst/>
            </c:spPr>
            <c:extLst>
              <c:ext xmlns:c16="http://schemas.microsoft.com/office/drawing/2014/chart" uri="{C3380CC4-5D6E-409C-BE32-E72D297353CC}">
                <c16:uniqueId val="{00000003-AA0B-451C-8E16-FF3A699F14F1}"/>
              </c:ext>
            </c:extLst>
          </c:dPt>
          <c:cat>
            <c:numRef>
              <c:f>[BBDD_IPC.xlsx]Otros!$F$389:$F$393</c:f>
              <c:numCache>
                <c:formatCode>m/d/yyyy</c:formatCode>
                <c:ptCount val="2"/>
                <c:pt idx="0">
                  <c:v>44774</c:v>
                </c:pt>
                <c:pt idx="1">
                  <c:v>45231</c:v>
                </c:pt>
              </c:numCache>
              <c:extLst/>
            </c:numRef>
          </c:cat>
          <c:val>
            <c:numRef>
              <c:f>[BBDD_IPC.xlsx]Otros!$G$389:$G$393</c:f>
              <c:numCache>
                <c:formatCode>0.0</c:formatCode>
                <c:ptCount val="2"/>
                <c:pt idx="0">
                  <c:v>14.08466187</c:v>
                </c:pt>
                <c:pt idx="1">
                  <c:v>4.7971255099999999</c:v>
                </c:pt>
              </c:numCache>
              <c:extLst/>
            </c:numRef>
          </c:val>
          <c:extLst>
            <c:ext xmlns:c16="http://schemas.microsoft.com/office/drawing/2014/chart" uri="{C3380CC4-5D6E-409C-BE32-E72D297353CC}">
              <c16:uniqueId val="{00000004-AA0B-451C-8E16-FF3A699F14F1}"/>
            </c:ext>
          </c:extLst>
        </c:ser>
        <c:dLbls>
          <c:showLegendKey val="0"/>
          <c:showVal val="0"/>
          <c:showCatName val="0"/>
          <c:showSerName val="0"/>
          <c:showPercent val="0"/>
          <c:showBubbleSize val="0"/>
        </c:dLbls>
        <c:gapWidth val="150"/>
        <c:axId val="30664144"/>
        <c:axId val="190422560"/>
      </c:barChart>
      <c:catAx>
        <c:axId val="30664144"/>
        <c:scaling>
          <c:orientation val="minMax"/>
        </c:scaling>
        <c:delete val="0"/>
        <c:axPos val="b"/>
        <c:numFmt formatCode="mmm\-yy" sourceLinked="0"/>
        <c:majorTickMark val="none"/>
        <c:minorTickMark val="none"/>
        <c:tickLblPos val="low"/>
        <c:spPr>
          <a:noFill/>
          <a:ln w="9525" cap="flat" cmpd="sng" algn="ctr">
            <a:solidFill>
              <a:srgbClr val="000000"/>
            </a:solidFill>
            <a:round/>
          </a:ln>
          <a:effectLst/>
        </c:spPr>
        <c:txPr>
          <a:bodyPr rot="0" spcFirstLastPara="1" vertOverflow="ellipsis" wrap="square" anchor="ctr" anchorCtr="1"/>
          <a:lstStyle/>
          <a:p>
            <a:pPr>
              <a:defRPr sz="1200" b="0" i="0" u="none" strike="noStrike" kern="1200" baseline="0">
                <a:solidFill>
                  <a:srgbClr val="000000"/>
                </a:solidFill>
                <a:latin typeface="gobCL" pitchFamily="50" charset="0"/>
                <a:ea typeface="Helvetica"/>
                <a:cs typeface="Helvetica"/>
              </a:defRPr>
            </a:pPr>
            <a:endParaRPr lang="es-CL"/>
          </a:p>
        </c:txPr>
        <c:crossAx val="190422560"/>
        <c:crosses val="autoZero"/>
        <c:auto val="0"/>
        <c:lblAlgn val="ctr"/>
        <c:lblOffset val="100"/>
        <c:noMultiLvlLbl val="0"/>
      </c:catAx>
      <c:valAx>
        <c:axId val="190422560"/>
        <c:scaling>
          <c:orientation val="minMax"/>
        </c:scaling>
        <c:delete val="0"/>
        <c:axPos val="l"/>
        <c:majorGridlines>
          <c:spPr>
            <a:ln w="9525" cap="flat" cmpd="sng" algn="ctr">
              <a:solidFill>
                <a:sysClr val="window" lastClr="FFFFFF">
                  <a:lumMod val="65000"/>
                </a:sysClr>
              </a:solidFill>
              <a:prstDash val="solid"/>
              <a:round/>
              <a:headEnd type="none" w="med" len="med"/>
              <a:tailEnd type="none" w="med" len="me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rgbClr val="000000"/>
                </a:solidFill>
                <a:latin typeface="gobCL" pitchFamily="50" charset="0"/>
                <a:ea typeface="Helvetica"/>
                <a:cs typeface="Helvetica"/>
              </a:defRPr>
            </a:pPr>
            <a:endParaRPr lang="es-CL"/>
          </a:p>
        </c:txPr>
        <c:crossAx val="306641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200">
          <a:solidFill>
            <a:srgbClr val="000000"/>
          </a:solidFill>
          <a:latin typeface="gobCL" pitchFamily="50" charset="0"/>
          <a:ea typeface="Helvetica"/>
          <a:cs typeface="Helvetica"/>
        </a:defRPr>
      </a:pPr>
      <a:endParaRPr lang="es-CL"/>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tx1"/>
                </a:solidFill>
                <a:latin typeface="gobCL" pitchFamily="50" charset="0"/>
                <a:ea typeface="Helvetica"/>
                <a:cs typeface="Helvetica"/>
              </a:defRPr>
            </a:pPr>
            <a:r>
              <a:rPr lang="es-CL" sz="1600" b="1">
                <a:solidFill>
                  <a:schemeClr val="tx1"/>
                </a:solidFill>
              </a:rPr>
              <a:t>Expectativas</a:t>
            </a:r>
            <a:r>
              <a:rPr lang="es-CL" sz="1600" b="1" baseline="0">
                <a:solidFill>
                  <a:schemeClr val="tx1"/>
                </a:solidFill>
              </a:rPr>
              <a:t> de inflación</a:t>
            </a:r>
            <a:r>
              <a:rPr lang="es-CL">
                <a:solidFill>
                  <a:schemeClr val="tx1"/>
                </a:solidFill>
              </a:rPr>
              <a:t>
</a:t>
            </a:r>
            <a:r>
              <a:rPr lang="es-CL" sz="1440">
                <a:solidFill>
                  <a:schemeClr val="tx1"/>
                </a:solidFill>
              </a:rPr>
              <a:t>(variación</a:t>
            </a:r>
            <a:r>
              <a:rPr lang="es-CL" sz="1440" baseline="0">
                <a:solidFill>
                  <a:schemeClr val="tx1"/>
                </a:solidFill>
              </a:rPr>
              <a:t> anual, porcentaje</a:t>
            </a:r>
            <a:r>
              <a:rPr lang="es-CL" sz="1440">
                <a:solidFill>
                  <a:schemeClr val="tx1"/>
                </a:solidFill>
              </a:rPr>
              <a:t>)</a:t>
            </a:r>
          </a:p>
        </c:rich>
      </c:tx>
      <c:overlay val="0"/>
      <c:spPr>
        <a:noFill/>
        <a:ln>
          <a:noFill/>
        </a:ln>
        <a:effectLst/>
      </c:spPr>
      <c:txPr>
        <a:bodyPr rot="0" spcFirstLastPara="1" vertOverflow="ellipsis" vert="horz" wrap="square" anchor="ctr" anchorCtr="1"/>
        <a:lstStyle/>
        <a:p>
          <a:pPr>
            <a:defRPr sz="1440" b="0" i="0" u="none" strike="noStrike" kern="1200" spc="0" baseline="0">
              <a:solidFill>
                <a:schemeClr val="tx1"/>
              </a:solidFill>
              <a:latin typeface="gobCL" pitchFamily="50" charset="0"/>
              <a:ea typeface="Helvetica"/>
              <a:cs typeface="Helvetica"/>
            </a:defRPr>
          </a:pPr>
          <a:endParaRPr lang="es-CL"/>
        </a:p>
      </c:txPr>
    </c:title>
    <c:autoTitleDeleted val="0"/>
    <c:plotArea>
      <c:layout/>
      <c:lineChart>
        <c:grouping val="standard"/>
        <c:varyColors val="0"/>
        <c:ser>
          <c:idx val="1"/>
          <c:order val="0"/>
          <c:tx>
            <c:strRef>
              <c:f>'[BD - EEE.xlsx]Inflación'!$E$2</c:f>
              <c:strCache>
                <c:ptCount val="1"/>
                <c:pt idx="0">
                  <c:v>Diciembre 2024</c:v>
                </c:pt>
              </c:strCache>
            </c:strRef>
          </c:tx>
          <c:spPr>
            <a:ln w="28575" cap="rnd">
              <a:solidFill>
                <a:srgbClr val="80C0CD"/>
              </a:solidFill>
              <a:round/>
            </a:ln>
            <a:effectLst/>
          </c:spPr>
          <c:marker>
            <c:symbol val="none"/>
          </c:marker>
          <c:cat>
            <c:numRef>
              <c:f>'[BD - EEE.xlsx]Inflación'!$A$158:$A$170</c:f>
              <c:numCache>
                <c:formatCode>mmm\.yyyy</c:formatCode>
                <c:ptCount val="13"/>
                <c:pt idx="0">
                  <c:v>44874</c:v>
                </c:pt>
                <c:pt idx="1">
                  <c:v>44904</c:v>
                </c:pt>
                <c:pt idx="2">
                  <c:v>44935</c:v>
                </c:pt>
                <c:pt idx="3">
                  <c:v>44966</c:v>
                </c:pt>
                <c:pt idx="4">
                  <c:v>44994</c:v>
                </c:pt>
                <c:pt idx="5">
                  <c:v>45025</c:v>
                </c:pt>
                <c:pt idx="6">
                  <c:v>45055</c:v>
                </c:pt>
                <c:pt idx="7">
                  <c:v>45086</c:v>
                </c:pt>
                <c:pt idx="8">
                  <c:v>45116</c:v>
                </c:pt>
                <c:pt idx="9">
                  <c:v>45147</c:v>
                </c:pt>
                <c:pt idx="10">
                  <c:v>45181</c:v>
                </c:pt>
                <c:pt idx="11">
                  <c:v>45210</c:v>
                </c:pt>
                <c:pt idx="12">
                  <c:v>45240</c:v>
                </c:pt>
              </c:numCache>
            </c:numRef>
          </c:cat>
          <c:val>
            <c:numRef>
              <c:f>'[BD - EEE.xlsx]Inflación'!$E$158:$E$170</c:f>
              <c:numCache>
                <c:formatCode>0.0</c:formatCode>
                <c:ptCount val="13"/>
                <c:pt idx="0">
                  <c:v>3.3</c:v>
                </c:pt>
                <c:pt idx="1">
                  <c:v>3.3</c:v>
                </c:pt>
                <c:pt idx="2">
                  <c:v>3.3</c:v>
                </c:pt>
                <c:pt idx="3">
                  <c:v>3.3</c:v>
                </c:pt>
                <c:pt idx="4">
                  <c:v>3.4</c:v>
                </c:pt>
                <c:pt idx="5">
                  <c:v>3.5</c:v>
                </c:pt>
                <c:pt idx="6">
                  <c:v>3.4</c:v>
                </c:pt>
                <c:pt idx="7">
                  <c:v>3.2</c:v>
                </c:pt>
                <c:pt idx="8">
                  <c:v>3</c:v>
                </c:pt>
                <c:pt idx="9">
                  <c:v>3</c:v>
                </c:pt>
                <c:pt idx="10">
                  <c:v>3</c:v>
                </c:pt>
                <c:pt idx="11">
                  <c:v>3</c:v>
                </c:pt>
                <c:pt idx="12">
                  <c:v>3</c:v>
                </c:pt>
              </c:numCache>
            </c:numRef>
          </c:val>
          <c:smooth val="0"/>
          <c:extLst>
            <c:ext xmlns:c16="http://schemas.microsoft.com/office/drawing/2014/chart" uri="{C3380CC4-5D6E-409C-BE32-E72D297353CC}">
              <c16:uniqueId val="{00000000-305A-49F3-81BA-0FDC54999E1B}"/>
            </c:ext>
          </c:extLst>
        </c:ser>
        <c:dLbls>
          <c:showLegendKey val="0"/>
          <c:showVal val="0"/>
          <c:showCatName val="0"/>
          <c:showSerName val="0"/>
          <c:showPercent val="0"/>
          <c:showBubbleSize val="0"/>
        </c:dLbls>
        <c:smooth val="0"/>
        <c:axId val="811469888"/>
        <c:axId val="1464119856"/>
      </c:lineChart>
      <c:dateAx>
        <c:axId val="811469888"/>
        <c:scaling>
          <c:orientation val="minMax"/>
        </c:scaling>
        <c:delete val="0"/>
        <c:axPos val="b"/>
        <c:numFmt formatCode="mmm\-yy" sourceLinked="0"/>
        <c:majorTickMark val="none"/>
        <c:minorTickMark val="none"/>
        <c:tickLblPos val="low"/>
        <c:spPr>
          <a:noFill/>
          <a:ln w="9525" cap="flat" cmpd="sng" algn="ctr">
            <a:solidFill>
              <a:srgbClr val="000000"/>
            </a:solidFill>
            <a:round/>
          </a:ln>
          <a:effectLst/>
        </c:spPr>
        <c:txPr>
          <a:bodyPr rot="-5400000" spcFirstLastPara="1" vertOverflow="ellipsis" wrap="square" anchor="ctr" anchorCtr="1"/>
          <a:lstStyle/>
          <a:p>
            <a:pPr>
              <a:defRPr sz="1200" b="0" i="0" u="none" strike="noStrike" kern="1200" baseline="0">
                <a:solidFill>
                  <a:srgbClr val="000000"/>
                </a:solidFill>
                <a:latin typeface="gobCL" pitchFamily="50" charset="0"/>
                <a:ea typeface="Helvetica"/>
                <a:cs typeface="Helvetica"/>
              </a:defRPr>
            </a:pPr>
            <a:endParaRPr lang="es-CL"/>
          </a:p>
        </c:txPr>
        <c:crossAx val="1464119856"/>
        <c:crossesAt val="3"/>
        <c:auto val="1"/>
        <c:lblOffset val="100"/>
        <c:baseTimeUnit val="months"/>
      </c:dateAx>
      <c:valAx>
        <c:axId val="1464119856"/>
        <c:scaling>
          <c:orientation val="minMax"/>
          <c:max val="3.5"/>
          <c:min val="2.5"/>
        </c:scaling>
        <c:delete val="0"/>
        <c:axPos val="l"/>
        <c:majorGridlines>
          <c:spPr>
            <a:ln w="9525" cap="flat" cmpd="sng" algn="ctr">
              <a:solidFill>
                <a:sysClr val="window" lastClr="FFFFFF">
                  <a:lumMod val="65000"/>
                </a:sysClr>
              </a:solidFill>
              <a:prstDash val="solid"/>
              <a:round/>
              <a:headEnd type="none" w="med" len="med"/>
              <a:tailEnd type="none" w="med" len="med"/>
            </a:ln>
            <a:effectLst/>
          </c:spPr>
        </c:majorGridlines>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rgbClr val="000000"/>
                </a:solidFill>
                <a:latin typeface="gobCL" pitchFamily="50" charset="0"/>
                <a:ea typeface="Helvetica"/>
                <a:cs typeface="Helvetica"/>
              </a:defRPr>
            </a:pPr>
            <a:endParaRPr lang="es-CL"/>
          </a:p>
        </c:txPr>
        <c:crossAx val="811469888"/>
        <c:crosses val="autoZero"/>
        <c:crossBetween val="between"/>
        <c:majorUnit val="0.25"/>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chemeClr val="bg2">
                  <a:lumMod val="25000"/>
                </a:schemeClr>
              </a:solidFill>
              <a:latin typeface="gobCL" pitchFamily="50" charset="0"/>
              <a:ea typeface="Helvetica"/>
              <a:cs typeface="Helvetica"/>
            </a:defRPr>
          </a:pPr>
          <a:endParaRPr lang="es-C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200">
          <a:solidFill>
            <a:srgbClr val="000000"/>
          </a:solidFill>
          <a:latin typeface="gobCL" pitchFamily="50" charset="0"/>
          <a:ea typeface="Helvetica"/>
          <a:cs typeface="Helvetica"/>
        </a:defRPr>
      </a:pPr>
      <a:endParaRPr lang="es-C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1"/>
                </a:solidFill>
                <a:latin typeface="Gobcl"/>
                <a:ea typeface="+mn-ea"/>
                <a:cs typeface="+mn-cs"/>
              </a:defRPr>
            </a:pPr>
            <a:r>
              <a:rPr lang="es-CL" sz="1440" b="1">
                <a:solidFill>
                  <a:schemeClr val="tx1"/>
                </a:solidFill>
              </a:rPr>
              <a:t>Cuenta corriente, Ahorro Nacional e Inversión</a:t>
            </a:r>
            <a:r>
              <a:rPr lang="es-CL" b="1">
                <a:solidFill>
                  <a:schemeClr val="tx1"/>
                </a:solidFill>
              </a:rPr>
              <a:t>
</a:t>
            </a:r>
            <a:r>
              <a:rPr lang="es-CL" sz="1200" b="0" i="0" u="none" strike="noStrike" kern="1200" spc="0" baseline="0">
                <a:solidFill>
                  <a:schemeClr val="tx1"/>
                </a:solidFill>
                <a:latin typeface="Gobcl"/>
              </a:rPr>
              <a:t>(porcentaje sobre el PIB, promedio móvil anual</a:t>
            </a:r>
            <a:r>
              <a:rPr lang="es-CL" sz="1200">
                <a:solidFill>
                  <a:schemeClr val="tx1"/>
                </a:solidFill>
              </a:rPr>
              <a:t>)</a:t>
            </a:r>
            <a:endParaRPr lang="es-CL">
              <a:solidFill>
                <a:schemeClr val="tx1"/>
              </a:solidFill>
            </a:endParaRP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Gobcl"/>
              <a:ea typeface="+mn-ea"/>
              <a:cs typeface="+mn-cs"/>
            </a:defRPr>
          </a:pPr>
          <a:endParaRPr lang="es-CL"/>
        </a:p>
      </c:txPr>
    </c:title>
    <c:autoTitleDeleted val="0"/>
    <c:plotArea>
      <c:layout>
        <c:manualLayout>
          <c:layoutTarget val="inner"/>
          <c:xMode val="edge"/>
          <c:yMode val="edge"/>
          <c:x val="7.3153059870352991E-2"/>
          <c:y val="0.24054044660297658"/>
          <c:w val="0.83630535420458085"/>
          <c:h val="0.61763090120318398"/>
        </c:manualLayout>
      </c:layout>
      <c:barChart>
        <c:barDir val="col"/>
        <c:grouping val="clustered"/>
        <c:varyColors val="0"/>
        <c:ser>
          <c:idx val="0"/>
          <c:order val="0"/>
          <c:tx>
            <c:strRef>
              <c:f>'[1.-Cuenta corriente.xlsx]cuenta corriente'!$L$2</c:f>
              <c:strCache>
                <c:ptCount val="1"/>
                <c:pt idx="0">
                  <c:v>Cuenta Corriente (eje der.)</c:v>
                </c:pt>
              </c:strCache>
            </c:strRef>
          </c:tx>
          <c:spPr>
            <a:solidFill>
              <a:sysClr val="window" lastClr="FFFFFF">
                <a:lumMod val="65000"/>
              </a:sysClr>
            </a:solidFill>
            <a:ln>
              <a:noFill/>
            </a:ln>
            <a:effectLst/>
          </c:spPr>
          <c:invertIfNegative val="0"/>
          <c:dPt>
            <c:idx val="18"/>
            <c:invertIfNegative val="0"/>
            <c:bubble3D val="0"/>
            <c:spPr>
              <a:solidFill>
                <a:srgbClr val="80C0CD"/>
              </a:solidFill>
              <a:ln>
                <a:noFill/>
              </a:ln>
              <a:effectLst/>
            </c:spPr>
            <c:extLst>
              <c:ext xmlns:c16="http://schemas.microsoft.com/office/drawing/2014/chart" uri="{C3380CC4-5D6E-409C-BE32-E72D297353CC}">
                <c16:uniqueId val="{00000001-21BE-4FF5-B40D-50AA20DD2821}"/>
              </c:ext>
            </c:extLst>
          </c:dPt>
          <c:cat>
            <c:multiLvlStrRef>
              <c:f>'[1.-Cuenta corriente.xlsx]cuenta corriente'!$I$24:$J$46</c:f>
              <c:multiLvlStrCache>
                <c:ptCount val="23"/>
                <c:lvl>
                  <c:pt idx="0">
                    <c:v>I</c:v>
                  </c:pt>
                  <c:pt idx="1">
                    <c:v>II</c:v>
                  </c:pt>
                  <c:pt idx="2">
                    <c:v>III</c:v>
                  </c:pt>
                  <c:pt idx="3">
                    <c:v>IV</c:v>
                  </c:pt>
                  <c:pt idx="4">
                    <c:v>I</c:v>
                  </c:pt>
                  <c:pt idx="5">
                    <c:v>II</c:v>
                  </c:pt>
                  <c:pt idx="6">
                    <c:v>III</c:v>
                  </c:pt>
                  <c:pt idx="7">
                    <c:v>IV</c:v>
                  </c:pt>
                  <c:pt idx="8">
                    <c:v>I</c:v>
                  </c:pt>
                  <c:pt idx="9">
                    <c:v>II</c:v>
                  </c:pt>
                  <c:pt idx="10">
                    <c:v>III</c:v>
                  </c:pt>
                  <c:pt idx="11">
                    <c:v>IV</c:v>
                  </c:pt>
                  <c:pt idx="12">
                    <c:v>I</c:v>
                  </c:pt>
                  <c:pt idx="13">
                    <c:v>II</c:v>
                  </c:pt>
                  <c:pt idx="14">
                    <c:v>III</c:v>
                  </c:pt>
                  <c:pt idx="15">
                    <c:v>IV</c:v>
                  </c:pt>
                  <c:pt idx="16">
                    <c:v>I</c:v>
                  </c:pt>
                  <c:pt idx="17">
                    <c:v>II</c:v>
                  </c:pt>
                  <c:pt idx="18">
                    <c:v>III</c:v>
                  </c:pt>
                  <c:pt idx="19">
                    <c:v>IV</c:v>
                  </c:pt>
                  <c:pt idx="20">
                    <c:v>I</c:v>
                  </c:pt>
                  <c:pt idx="21">
                    <c:v>II</c:v>
                  </c:pt>
                  <c:pt idx="22">
                    <c:v>III</c:v>
                  </c:pt>
                </c:lvl>
                <c:lvl>
                  <c:pt idx="0">
                    <c:v>2018</c:v>
                  </c:pt>
                  <c:pt idx="4">
                    <c:v>2019</c:v>
                  </c:pt>
                  <c:pt idx="8">
                    <c:v>2020</c:v>
                  </c:pt>
                  <c:pt idx="12">
                    <c:v>2021</c:v>
                  </c:pt>
                  <c:pt idx="16">
                    <c:v>2022</c:v>
                  </c:pt>
                  <c:pt idx="20">
                    <c:v>2023</c:v>
                  </c:pt>
                </c:lvl>
              </c:multiLvlStrCache>
            </c:multiLvlStrRef>
          </c:cat>
          <c:val>
            <c:numRef>
              <c:f>'[1.-Cuenta corriente.xlsx]cuenta corriente'!$L$24:$L$46</c:f>
              <c:numCache>
                <c:formatCode>#,##0.00</c:formatCode>
                <c:ptCount val="23"/>
                <c:pt idx="0">
                  <c:v>-2.467260312634</c:v>
                </c:pt>
                <c:pt idx="1">
                  <c:v>-2.6750710545269998</c:v>
                </c:pt>
                <c:pt idx="2">
                  <c:v>-3.4984760859650001</c:v>
                </c:pt>
                <c:pt idx="3">
                  <c:v>-4.5619852198170001</c:v>
                </c:pt>
                <c:pt idx="4">
                  <c:v>-4.7853997682019997</c:v>
                </c:pt>
                <c:pt idx="5">
                  <c:v>-5.1196221460610003</c:v>
                </c:pt>
                <c:pt idx="6">
                  <c:v>-5.1995048016099998</c:v>
                </c:pt>
                <c:pt idx="7">
                  <c:v>-5.2509537957339996</c:v>
                </c:pt>
                <c:pt idx="8">
                  <c:v>-5.4929658042970004</c:v>
                </c:pt>
                <c:pt idx="9">
                  <c:v>-3.960633581932</c:v>
                </c:pt>
                <c:pt idx="10">
                  <c:v>-3.1847332969709998</c:v>
                </c:pt>
                <c:pt idx="11">
                  <c:v>-1.927965313916</c:v>
                </c:pt>
                <c:pt idx="12">
                  <c:v>-2.0149405878179998</c:v>
                </c:pt>
                <c:pt idx="13">
                  <c:v>-3.4739889465389999</c:v>
                </c:pt>
                <c:pt idx="14">
                  <c:v>-5.1371920999410001</c:v>
                </c:pt>
                <c:pt idx="15">
                  <c:v>-7.4706547655910001</c:v>
                </c:pt>
                <c:pt idx="16">
                  <c:v>-8.1245931515219993</c:v>
                </c:pt>
                <c:pt idx="17">
                  <c:v>-9.7435066205749994</c:v>
                </c:pt>
                <c:pt idx="18">
                  <c:v>-10.02302684591</c:v>
                </c:pt>
                <c:pt idx="19">
                  <c:v>-9.0007457493379999</c:v>
                </c:pt>
                <c:pt idx="20">
                  <c:v>-6.7739868671999997</c:v>
                </c:pt>
                <c:pt idx="21">
                  <c:v>-4.6999059659739997</c:v>
                </c:pt>
                <c:pt idx="22">
                  <c:v>-3.5030943023879999</c:v>
                </c:pt>
              </c:numCache>
            </c:numRef>
          </c:val>
          <c:extLst>
            <c:ext xmlns:c16="http://schemas.microsoft.com/office/drawing/2014/chart" uri="{C3380CC4-5D6E-409C-BE32-E72D297353CC}">
              <c16:uniqueId val="{00000002-21BE-4FF5-B40D-50AA20DD2821}"/>
            </c:ext>
          </c:extLst>
        </c:ser>
        <c:dLbls>
          <c:showLegendKey val="0"/>
          <c:showVal val="0"/>
          <c:showCatName val="0"/>
          <c:showSerName val="0"/>
          <c:showPercent val="0"/>
          <c:showBubbleSize val="0"/>
        </c:dLbls>
        <c:gapWidth val="219"/>
        <c:overlap val="-27"/>
        <c:axId val="163788256"/>
        <c:axId val="14918176"/>
      </c:barChart>
      <c:lineChart>
        <c:grouping val="standard"/>
        <c:varyColors val="0"/>
        <c:ser>
          <c:idx val="1"/>
          <c:order val="1"/>
          <c:tx>
            <c:strRef>
              <c:f>'[1.-Cuenta corriente.xlsx]cuenta corriente'!$S$2</c:f>
              <c:strCache>
                <c:ptCount val="1"/>
                <c:pt idx="0">
                  <c:v>Inversión</c:v>
                </c:pt>
              </c:strCache>
            </c:strRef>
          </c:tx>
          <c:spPr>
            <a:ln w="28575" cap="rnd">
              <a:solidFill>
                <a:srgbClr val="80C0CD"/>
              </a:solidFill>
              <a:round/>
            </a:ln>
            <a:effectLst/>
          </c:spPr>
          <c:marker>
            <c:symbol val="none"/>
          </c:marker>
          <c:cat>
            <c:multiLvlStrRef>
              <c:f>'[1.-Cuenta corriente.xlsx]cuenta corriente'!$I$24:$J$46</c:f>
              <c:multiLvlStrCache>
                <c:ptCount val="23"/>
                <c:lvl>
                  <c:pt idx="0">
                    <c:v>I</c:v>
                  </c:pt>
                  <c:pt idx="1">
                    <c:v>II</c:v>
                  </c:pt>
                  <c:pt idx="2">
                    <c:v>III</c:v>
                  </c:pt>
                  <c:pt idx="3">
                    <c:v>IV</c:v>
                  </c:pt>
                  <c:pt idx="4">
                    <c:v>I</c:v>
                  </c:pt>
                  <c:pt idx="5">
                    <c:v>II</c:v>
                  </c:pt>
                  <c:pt idx="6">
                    <c:v>III</c:v>
                  </c:pt>
                  <c:pt idx="7">
                    <c:v>IV</c:v>
                  </c:pt>
                  <c:pt idx="8">
                    <c:v>I</c:v>
                  </c:pt>
                  <c:pt idx="9">
                    <c:v>II</c:v>
                  </c:pt>
                  <c:pt idx="10">
                    <c:v>III</c:v>
                  </c:pt>
                  <c:pt idx="11">
                    <c:v>IV</c:v>
                  </c:pt>
                  <c:pt idx="12">
                    <c:v>I</c:v>
                  </c:pt>
                  <c:pt idx="13">
                    <c:v>II</c:v>
                  </c:pt>
                  <c:pt idx="14">
                    <c:v>III</c:v>
                  </c:pt>
                  <c:pt idx="15">
                    <c:v>IV</c:v>
                  </c:pt>
                  <c:pt idx="16">
                    <c:v>I</c:v>
                  </c:pt>
                  <c:pt idx="17">
                    <c:v>II</c:v>
                  </c:pt>
                  <c:pt idx="18">
                    <c:v>III</c:v>
                  </c:pt>
                  <c:pt idx="19">
                    <c:v>IV</c:v>
                  </c:pt>
                  <c:pt idx="20">
                    <c:v>I</c:v>
                  </c:pt>
                  <c:pt idx="21">
                    <c:v>II</c:v>
                  </c:pt>
                  <c:pt idx="22">
                    <c:v>III</c:v>
                  </c:pt>
                </c:lvl>
                <c:lvl>
                  <c:pt idx="0">
                    <c:v>2018</c:v>
                  </c:pt>
                  <c:pt idx="4">
                    <c:v>2019</c:v>
                  </c:pt>
                  <c:pt idx="8">
                    <c:v>2020</c:v>
                  </c:pt>
                  <c:pt idx="12">
                    <c:v>2021</c:v>
                  </c:pt>
                  <c:pt idx="16">
                    <c:v>2022</c:v>
                  </c:pt>
                  <c:pt idx="20">
                    <c:v>2023</c:v>
                  </c:pt>
                </c:lvl>
              </c:multiLvlStrCache>
            </c:multiLvlStrRef>
          </c:cat>
          <c:val>
            <c:numRef>
              <c:f>'[1.-Cuenta corriente.xlsx]cuenta corriente'!$S$24:$S$46</c:f>
              <c:numCache>
                <c:formatCode>#,##0.0</c:formatCode>
                <c:ptCount val="23"/>
                <c:pt idx="0">
                  <c:v>22.949113387030526</c:v>
                </c:pt>
                <c:pt idx="1">
                  <c:v>23.2957575424665</c:v>
                </c:pt>
                <c:pt idx="2">
                  <c:v>23.741685106533453</c:v>
                </c:pt>
                <c:pt idx="3">
                  <c:v>24.225947518548054</c:v>
                </c:pt>
                <c:pt idx="4">
                  <c:v>24.301417419068454</c:v>
                </c:pt>
                <c:pt idx="5">
                  <c:v>24.288057469444276</c:v>
                </c:pt>
                <c:pt idx="6">
                  <c:v>24.20690906495545</c:v>
                </c:pt>
                <c:pt idx="7">
                  <c:v>24.440216201470847</c:v>
                </c:pt>
                <c:pt idx="8">
                  <c:v>24.002063199223826</c:v>
                </c:pt>
                <c:pt idx="9">
                  <c:v>23.413568177400446</c:v>
                </c:pt>
                <c:pt idx="10">
                  <c:v>22.5582347690113</c:v>
                </c:pt>
                <c:pt idx="11">
                  <c:v>21.37970026210445</c:v>
                </c:pt>
                <c:pt idx="12">
                  <c:v>21.83625812578105</c:v>
                </c:pt>
                <c:pt idx="13">
                  <c:v>22.075153441421623</c:v>
                </c:pt>
                <c:pt idx="14">
                  <c:v>23.244977528272852</c:v>
                </c:pt>
                <c:pt idx="15">
                  <c:v>24.872697683307074</c:v>
                </c:pt>
                <c:pt idx="16">
                  <c:v>25.019245716075105</c:v>
                </c:pt>
                <c:pt idx="17">
                  <c:v>25.469690142207853</c:v>
                </c:pt>
                <c:pt idx="18">
                  <c:v>25.278873447055673</c:v>
                </c:pt>
                <c:pt idx="19">
                  <c:v>24.24827910684245</c:v>
                </c:pt>
                <c:pt idx="20">
                  <c:v>23.220575035435125</c:v>
                </c:pt>
                <c:pt idx="21">
                  <c:v>22.830969565897199</c:v>
                </c:pt>
                <c:pt idx="22">
                  <c:v>22.321077965020525</c:v>
                </c:pt>
              </c:numCache>
            </c:numRef>
          </c:val>
          <c:smooth val="0"/>
          <c:extLst>
            <c:ext xmlns:c16="http://schemas.microsoft.com/office/drawing/2014/chart" uri="{C3380CC4-5D6E-409C-BE32-E72D297353CC}">
              <c16:uniqueId val="{00000003-21BE-4FF5-B40D-50AA20DD2821}"/>
            </c:ext>
          </c:extLst>
        </c:ser>
        <c:ser>
          <c:idx val="2"/>
          <c:order val="2"/>
          <c:tx>
            <c:strRef>
              <c:f>'[1.-Cuenta corriente.xlsx]cuenta corriente'!$T$2</c:f>
              <c:strCache>
                <c:ptCount val="1"/>
                <c:pt idx="0">
                  <c:v>Ahorro nacional</c:v>
                </c:pt>
              </c:strCache>
            </c:strRef>
          </c:tx>
          <c:spPr>
            <a:ln w="28575" cap="rnd">
              <a:solidFill>
                <a:srgbClr val="1F4E79"/>
              </a:solidFill>
              <a:round/>
            </a:ln>
            <a:effectLst/>
          </c:spPr>
          <c:marker>
            <c:symbol val="none"/>
          </c:marker>
          <c:cat>
            <c:multiLvlStrRef>
              <c:f>'[1.-Cuenta corriente.xlsx]cuenta corriente'!$I$24:$J$46</c:f>
              <c:multiLvlStrCache>
                <c:ptCount val="23"/>
                <c:lvl>
                  <c:pt idx="0">
                    <c:v>I</c:v>
                  </c:pt>
                  <c:pt idx="1">
                    <c:v>II</c:v>
                  </c:pt>
                  <c:pt idx="2">
                    <c:v>III</c:v>
                  </c:pt>
                  <c:pt idx="3">
                    <c:v>IV</c:v>
                  </c:pt>
                  <c:pt idx="4">
                    <c:v>I</c:v>
                  </c:pt>
                  <c:pt idx="5">
                    <c:v>II</c:v>
                  </c:pt>
                  <c:pt idx="6">
                    <c:v>III</c:v>
                  </c:pt>
                  <c:pt idx="7">
                    <c:v>IV</c:v>
                  </c:pt>
                  <c:pt idx="8">
                    <c:v>I</c:v>
                  </c:pt>
                  <c:pt idx="9">
                    <c:v>II</c:v>
                  </c:pt>
                  <c:pt idx="10">
                    <c:v>III</c:v>
                  </c:pt>
                  <c:pt idx="11">
                    <c:v>IV</c:v>
                  </c:pt>
                  <c:pt idx="12">
                    <c:v>I</c:v>
                  </c:pt>
                  <c:pt idx="13">
                    <c:v>II</c:v>
                  </c:pt>
                  <c:pt idx="14">
                    <c:v>III</c:v>
                  </c:pt>
                  <c:pt idx="15">
                    <c:v>IV</c:v>
                  </c:pt>
                  <c:pt idx="16">
                    <c:v>I</c:v>
                  </c:pt>
                  <c:pt idx="17">
                    <c:v>II</c:v>
                  </c:pt>
                  <c:pt idx="18">
                    <c:v>III</c:v>
                  </c:pt>
                  <c:pt idx="19">
                    <c:v>IV</c:v>
                  </c:pt>
                  <c:pt idx="20">
                    <c:v>I</c:v>
                  </c:pt>
                  <c:pt idx="21">
                    <c:v>II</c:v>
                  </c:pt>
                  <c:pt idx="22">
                    <c:v>III</c:v>
                  </c:pt>
                </c:lvl>
                <c:lvl>
                  <c:pt idx="0">
                    <c:v>2018</c:v>
                  </c:pt>
                  <c:pt idx="4">
                    <c:v>2019</c:v>
                  </c:pt>
                  <c:pt idx="8">
                    <c:v>2020</c:v>
                  </c:pt>
                  <c:pt idx="12">
                    <c:v>2021</c:v>
                  </c:pt>
                  <c:pt idx="16">
                    <c:v>2022</c:v>
                  </c:pt>
                  <c:pt idx="20">
                    <c:v>2023</c:v>
                  </c:pt>
                </c:lvl>
              </c:multiLvlStrCache>
            </c:multiLvlStrRef>
          </c:cat>
          <c:val>
            <c:numRef>
              <c:f>'[1.-Cuenta corriente.xlsx]cuenta corriente'!$T$24:$T$46</c:f>
              <c:numCache>
                <c:formatCode>#,##0.0</c:formatCode>
                <c:ptCount val="23"/>
                <c:pt idx="0">
                  <c:v>19.979920064037124</c:v>
                </c:pt>
                <c:pt idx="1">
                  <c:v>20.149532229743727</c:v>
                </c:pt>
                <c:pt idx="2">
                  <c:v>19.961661536404399</c:v>
                </c:pt>
                <c:pt idx="3">
                  <c:v>19.6518352127237</c:v>
                </c:pt>
                <c:pt idx="4">
                  <c:v>19.757900987919527</c:v>
                </c:pt>
                <c:pt idx="5">
                  <c:v>19.573991632719149</c:v>
                </c:pt>
                <c:pt idx="6">
                  <c:v>19.572518230427498</c:v>
                </c:pt>
                <c:pt idx="7">
                  <c:v>19.796893104979603</c:v>
                </c:pt>
                <c:pt idx="8">
                  <c:v>19.228309875373899</c:v>
                </c:pt>
                <c:pt idx="9">
                  <c:v>20.116197529502777</c:v>
                </c:pt>
                <c:pt idx="10">
                  <c:v>19.680200817903952</c:v>
                </c:pt>
                <c:pt idx="11">
                  <c:v>19.278118742464876</c:v>
                </c:pt>
                <c:pt idx="12">
                  <c:v>19.121255614931101</c:v>
                </c:pt>
                <c:pt idx="13">
                  <c:v>17.612021406516725</c:v>
                </c:pt>
                <c:pt idx="14">
                  <c:v>17.366270434582148</c:v>
                </c:pt>
                <c:pt idx="15">
                  <c:v>17.066560230633222</c:v>
                </c:pt>
                <c:pt idx="16">
                  <c:v>16.994277575643576</c:v>
                </c:pt>
                <c:pt idx="17">
                  <c:v>16.369708932511674</c:v>
                </c:pt>
                <c:pt idx="18">
                  <c:v>16.466112661573224</c:v>
                </c:pt>
                <c:pt idx="19">
                  <c:v>16.441646618139551</c:v>
                </c:pt>
                <c:pt idx="20">
                  <c:v>17.302543760222552</c:v>
                </c:pt>
                <c:pt idx="21">
                  <c:v>18.590267578676027</c:v>
                </c:pt>
                <c:pt idx="22">
                  <c:v>18.857709496951674</c:v>
                </c:pt>
              </c:numCache>
            </c:numRef>
          </c:val>
          <c:smooth val="0"/>
          <c:extLst>
            <c:ext xmlns:c16="http://schemas.microsoft.com/office/drawing/2014/chart" uri="{C3380CC4-5D6E-409C-BE32-E72D297353CC}">
              <c16:uniqueId val="{00000004-21BE-4FF5-B40D-50AA20DD2821}"/>
            </c:ext>
          </c:extLst>
        </c:ser>
        <c:dLbls>
          <c:showLegendKey val="0"/>
          <c:showVal val="0"/>
          <c:showCatName val="0"/>
          <c:showSerName val="0"/>
          <c:showPercent val="0"/>
          <c:showBubbleSize val="0"/>
        </c:dLbls>
        <c:marker val="1"/>
        <c:smooth val="0"/>
        <c:axId val="235340880"/>
        <c:axId val="206472912"/>
      </c:lineChart>
      <c:catAx>
        <c:axId val="235340880"/>
        <c:scaling>
          <c:orientation val="minMax"/>
        </c:scaling>
        <c:delete val="0"/>
        <c:axPos val="b"/>
        <c:numFmt formatCode="General" sourceLinked="1"/>
        <c:majorTickMark val="none"/>
        <c:minorTickMark val="none"/>
        <c:tickLblPos val="low"/>
        <c:spPr>
          <a:noFill/>
          <a:ln w="9525" cap="flat" cmpd="sng" algn="ctr">
            <a:solidFill>
              <a:sysClr val="windowText" lastClr="000000"/>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Gobcl"/>
                <a:ea typeface="+mn-ea"/>
                <a:cs typeface="+mn-cs"/>
              </a:defRPr>
            </a:pPr>
            <a:endParaRPr lang="es-CL"/>
          </a:p>
        </c:txPr>
        <c:crossAx val="206472912"/>
        <c:crosses val="autoZero"/>
        <c:auto val="1"/>
        <c:lblAlgn val="ctr"/>
        <c:lblOffset val="100"/>
        <c:noMultiLvlLbl val="0"/>
      </c:catAx>
      <c:valAx>
        <c:axId val="206472912"/>
        <c:scaling>
          <c:orientation val="minMax"/>
          <c:max val="28"/>
          <c:min val="16"/>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Gobcl"/>
                <a:ea typeface="+mn-ea"/>
                <a:cs typeface="+mn-cs"/>
              </a:defRPr>
            </a:pPr>
            <a:endParaRPr lang="es-CL"/>
          </a:p>
        </c:txPr>
        <c:crossAx val="235340880"/>
        <c:crosses val="autoZero"/>
        <c:crossBetween val="between"/>
      </c:valAx>
      <c:valAx>
        <c:axId val="14918176"/>
        <c:scaling>
          <c:orientation val="minMax"/>
        </c:scaling>
        <c:delete val="0"/>
        <c:axPos val="r"/>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Gobcl"/>
                <a:ea typeface="+mn-ea"/>
                <a:cs typeface="+mn-cs"/>
              </a:defRPr>
            </a:pPr>
            <a:endParaRPr lang="es-CL"/>
          </a:p>
        </c:txPr>
        <c:crossAx val="163788256"/>
        <c:crosses val="max"/>
        <c:crossBetween val="between"/>
      </c:valAx>
      <c:catAx>
        <c:axId val="163788256"/>
        <c:scaling>
          <c:orientation val="minMax"/>
        </c:scaling>
        <c:delete val="1"/>
        <c:axPos val="b"/>
        <c:numFmt formatCode="General" sourceLinked="1"/>
        <c:majorTickMark val="out"/>
        <c:minorTickMark val="none"/>
        <c:tickLblPos val="nextTo"/>
        <c:crossAx val="14918176"/>
        <c:crosses val="autoZero"/>
        <c:auto val="1"/>
        <c:lblAlgn val="ctr"/>
        <c:lblOffset val="100"/>
        <c:noMultiLvlLbl val="0"/>
      </c:catAx>
      <c:spPr>
        <a:noFill/>
        <a:ln>
          <a:noFill/>
        </a:ln>
        <a:effectLst/>
      </c:spPr>
    </c:plotArea>
    <c:legend>
      <c:legendPos val="t"/>
      <c:layout>
        <c:manualLayout>
          <c:xMode val="edge"/>
          <c:yMode val="edge"/>
          <c:x val="4.5752668941563018E-2"/>
          <c:y val="0.14931517323996857"/>
          <c:w val="0.8989861044898787"/>
          <c:h val="6.0336817519330628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bg2">
                  <a:lumMod val="25000"/>
                </a:schemeClr>
              </a:solidFill>
              <a:latin typeface="Gobcl"/>
              <a:ea typeface="+mn-ea"/>
              <a:cs typeface="+mn-cs"/>
            </a:defRPr>
          </a:pPr>
          <a:endParaRPr lang="es-C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solidFill>
            <a:sysClr val="windowText" lastClr="000000"/>
          </a:solidFill>
          <a:latin typeface="Gobcl"/>
        </a:defRPr>
      </a:pPr>
      <a:endParaRPr lang="es-CL"/>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solidFill>
                  <a:schemeClr val="tx1"/>
                </a:solidFill>
              </a:defRPr>
            </a:pPr>
            <a:r>
              <a:rPr lang="es-ES" sz="1440">
                <a:solidFill>
                  <a:schemeClr val="tx1"/>
                </a:solidFill>
              </a:rPr>
              <a:t>Ahorro bruto por sector institucional</a:t>
            </a:r>
          </a:p>
          <a:p>
            <a:pPr>
              <a:defRPr>
                <a:solidFill>
                  <a:schemeClr val="tx1"/>
                </a:solidFill>
              </a:defRPr>
            </a:pPr>
            <a:r>
              <a:rPr lang="es-ES" sz="1200" b="0">
                <a:solidFill>
                  <a:schemeClr val="tx1"/>
                </a:solidFill>
              </a:rPr>
              <a:t>(porcentaje del PIB, promedio móvil 4 trimestres)</a:t>
            </a:r>
          </a:p>
        </c:rich>
      </c:tx>
      <c:overlay val="0"/>
    </c:title>
    <c:autoTitleDeleted val="0"/>
    <c:plotArea>
      <c:layout>
        <c:manualLayout>
          <c:layoutTarget val="inner"/>
          <c:xMode val="edge"/>
          <c:yMode val="edge"/>
          <c:x val="5.2943544697944558E-2"/>
          <c:y val="0.24547660997744297"/>
          <c:w val="0.91650096314870122"/>
          <c:h val="0.60033215523944994"/>
        </c:manualLayout>
      </c:layout>
      <c:barChart>
        <c:barDir val="col"/>
        <c:grouping val="stacked"/>
        <c:varyColors val="0"/>
        <c:ser>
          <c:idx val="0"/>
          <c:order val="0"/>
          <c:tx>
            <c:strRef>
              <c:f>'G 1'!$D$3</c:f>
              <c:strCache>
                <c:ptCount val="1"/>
                <c:pt idx="0">
                  <c:v>Empresas no financieras</c:v>
                </c:pt>
              </c:strCache>
            </c:strRef>
          </c:tx>
          <c:spPr>
            <a:solidFill>
              <a:srgbClr val="003D58"/>
            </a:solidFill>
          </c:spPr>
          <c:invertIfNegative val="0"/>
          <c:cat>
            <c:multiLvlStrRef>
              <c:f>'G 1'!$B$4:$C$46</c:f>
              <c:multiLvlStrCache>
                <c:ptCount val="43"/>
                <c:lvl>
                  <c:pt idx="0">
                    <c:v>I</c:v>
                  </c:pt>
                  <c:pt idx="1">
                    <c:v>II</c:v>
                  </c:pt>
                  <c:pt idx="2">
                    <c:v>III</c:v>
                  </c:pt>
                  <c:pt idx="3">
                    <c:v>IV</c:v>
                  </c:pt>
                  <c:pt idx="4">
                    <c:v>I</c:v>
                  </c:pt>
                  <c:pt idx="5">
                    <c:v>II</c:v>
                  </c:pt>
                  <c:pt idx="6">
                    <c:v>III</c:v>
                  </c:pt>
                  <c:pt idx="7">
                    <c:v>IV</c:v>
                  </c:pt>
                  <c:pt idx="8">
                    <c:v>I</c:v>
                  </c:pt>
                  <c:pt idx="9">
                    <c:v>II</c:v>
                  </c:pt>
                  <c:pt idx="10">
                    <c:v>III</c:v>
                  </c:pt>
                  <c:pt idx="11">
                    <c:v>IV</c:v>
                  </c:pt>
                  <c:pt idx="12">
                    <c:v>I</c:v>
                  </c:pt>
                  <c:pt idx="13">
                    <c:v>II</c:v>
                  </c:pt>
                  <c:pt idx="14">
                    <c:v>III</c:v>
                  </c:pt>
                  <c:pt idx="15">
                    <c:v>IV</c:v>
                  </c:pt>
                  <c:pt idx="16">
                    <c:v>I</c:v>
                  </c:pt>
                  <c:pt idx="17">
                    <c:v>II</c:v>
                  </c:pt>
                  <c:pt idx="18">
                    <c:v>III</c:v>
                  </c:pt>
                  <c:pt idx="19">
                    <c:v>IV</c:v>
                  </c:pt>
                  <c:pt idx="20">
                    <c:v>I</c:v>
                  </c:pt>
                  <c:pt idx="21">
                    <c:v>II</c:v>
                  </c:pt>
                  <c:pt idx="22">
                    <c:v>III</c:v>
                  </c:pt>
                  <c:pt idx="23">
                    <c:v>IV</c:v>
                  </c:pt>
                  <c:pt idx="24">
                    <c:v>I</c:v>
                  </c:pt>
                  <c:pt idx="25">
                    <c:v>II</c:v>
                  </c:pt>
                  <c:pt idx="26">
                    <c:v>III</c:v>
                  </c:pt>
                  <c:pt idx="27">
                    <c:v>IV</c:v>
                  </c:pt>
                  <c:pt idx="28">
                    <c:v>I</c:v>
                  </c:pt>
                  <c:pt idx="29">
                    <c:v>II</c:v>
                  </c:pt>
                  <c:pt idx="30">
                    <c:v>III</c:v>
                  </c:pt>
                  <c:pt idx="31">
                    <c:v>IV</c:v>
                  </c:pt>
                  <c:pt idx="32">
                    <c:v>I</c:v>
                  </c:pt>
                  <c:pt idx="33">
                    <c:v>II</c:v>
                  </c:pt>
                  <c:pt idx="34">
                    <c:v>III</c:v>
                  </c:pt>
                  <c:pt idx="35">
                    <c:v>IV</c:v>
                  </c:pt>
                  <c:pt idx="36">
                    <c:v>I</c:v>
                  </c:pt>
                  <c:pt idx="37">
                    <c:v>II</c:v>
                  </c:pt>
                  <c:pt idx="38">
                    <c:v>III</c:v>
                  </c:pt>
                  <c:pt idx="39">
                    <c:v>IV</c:v>
                  </c:pt>
                  <c:pt idx="40">
                    <c:v>I</c:v>
                  </c:pt>
                  <c:pt idx="41">
                    <c:v>II</c:v>
                  </c:pt>
                  <c:pt idx="42">
                    <c:v>III</c:v>
                  </c:pt>
                </c:lvl>
                <c:lvl>
                  <c:pt idx="0">
                    <c:v>2013</c:v>
                  </c:pt>
                  <c:pt idx="4">
                    <c:v>2014</c:v>
                  </c:pt>
                  <c:pt idx="8">
                    <c:v>2015</c:v>
                  </c:pt>
                  <c:pt idx="12">
                    <c:v>2016</c:v>
                  </c:pt>
                  <c:pt idx="16">
                    <c:v>2017</c:v>
                  </c:pt>
                  <c:pt idx="20">
                    <c:v>2018</c:v>
                  </c:pt>
                  <c:pt idx="24">
                    <c:v>2019</c:v>
                  </c:pt>
                  <c:pt idx="28">
                    <c:v>2020</c:v>
                  </c:pt>
                  <c:pt idx="32">
                    <c:v>2021</c:v>
                  </c:pt>
                  <c:pt idx="36">
                    <c:v>2022</c:v>
                  </c:pt>
                  <c:pt idx="40">
                    <c:v>2023</c:v>
                  </c:pt>
                </c:lvl>
              </c:multiLvlStrCache>
            </c:multiLvlStrRef>
          </c:cat>
          <c:val>
            <c:numRef>
              <c:f>'G 1'!$D$4:$D$45</c:f>
              <c:numCache>
                <c:formatCode>_ * #,##0.0_ ;_ * \-#,##0.0_ ;_ * "-"_ ;_ @_ </c:formatCode>
                <c:ptCount val="42"/>
                <c:pt idx="0">
                  <c:v>9.4516867222875831</c:v>
                </c:pt>
                <c:pt idx="1">
                  <c:v>10.402584042324293</c:v>
                </c:pt>
                <c:pt idx="2">
                  <c:v>9.3150268583647424</c:v>
                </c:pt>
                <c:pt idx="3">
                  <c:v>9.3119851827280886</c:v>
                </c:pt>
                <c:pt idx="4">
                  <c:v>9.1388086941988877</c:v>
                </c:pt>
                <c:pt idx="5">
                  <c:v>8.9339635906671244</c:v>
                </c:pt>
                <c:pt idx="6">
                  <c:v>9.2097523680438655</c:v>
                </c:pt>
                <c:pt idx="7">
                  <c:v>9.3297316357720881</c:v>
                </c:pt>
                <c:pt idx="8">
                  <c:v>10.443219678298988</c:v>
                </c:pt>
                <c:pt idx="9">
                  <c:v>11.264561604242699</c:v>
                </c:pt>
                <c:pt idx="10">
                  <c:v>11.712338595651556</c:v>
                </c:pt>
                <c:pt idx="11">
                  <c:v>12.207277555092293</c:v>
                </c:pt>
                <c:pt idx="12">
                  <c:v>12.066743250436486</c:v>
                </c:pt>
                <c:pt idx="13">
                  <c:v>11.214539616503513</c:v>
                </c:pt>
                <c:pt idx="14">
                  <c:v>11.435170183298164</c:v>
                </c:pt>
                <c:pt idx="15">
                  <c:v>11.244542679630404</c:v>
                </c:pt>
                <c:pt idx="16">
                  <c:v>11.0203655302287</c:v>
                </c:pt>
                <c:pt idx="17">
                  <c:v>11.057534876454406</c:v>
                </c:pt>
                <c:pt idx="18">
                  <c:v>11.582423024853725</c:v>
                </c:pt>
                <c:pt idx="19">
                  <c:v>12.105555942797494</c:v>
                </c:pt>
                <c:pt idx="20">
                  <c:v>12.317399788439589</c:v>
                </c:pt>
                <c:pt idx="21">
                  <c:v>12.108619026879488</c:v>
                </c:pt>
                <c:pt idx="22">
                  <c:v>11.175638993333118</c:v>
                </c:pt>
                <c:pt idx="23">
                  <c:v>10.282167386212308</c:v>
                </c:pt>
                <c:pt idx="24">
                  <c:v>9.9905383304886524</c:v>
                </c:pt>
                <c:pt idx="25">
                  <c:v>9.5925206842926247</c:v>
                </c:pt>
                <c:pt idx="26">
                  <c:v>9.9045533758058273</c:v>
                </c:pt>
                <c:pt idx="27">
                  <c:v>9.6941899952911967</c:v>
                </c:pt>
                <c:pt idx="28">
                  <c:v>9.2854635550580902</c:v>
                </c:pt>
                <c:pt idx="29">
                  <c:v>10.198300538673207</c:v>
                </c:pt>
                <c:pt idx="30">
                  <c:v>11.273473915924438</c:v>
                </c:pt>
                <c:pt idx="31">
                  <c:v>13.154071972084767</c:v>
                </c:pt>
                <c:pt idx="32">
                  <c:v>14.239560971878337</c:v>
                </c:pt>
                <c:pt idx="33">
                  <c:v>14.404389014282316</c:v>
                </c:pt>
                <c:pt idx="34">
                  <c:v>14.815463941336285</c:v>
                </c:pt>
                <c:pt idx="35">
                  <c:v>12.833707069736933</c:v>
                </c:pt>
                <c:pt idx="36">
                  <c:v>13.116216926946661</c:v>
                </c:pt>
                <c:pt idx="37">
                  <c:v>10.067991485367708</c:v>
                </c:pt>
                <c:pt idx="38">
                  <c:v>8.6360748435175498</c:v>
                </c:pt>
                <c:pt idx="39">
                  <c:v>9.3448642063533711</c:v>
                </c:pt>
                <c:pt idx="40">
                  <c:v>9.179293785466621</c:v>
                </c:pt>
                <c:pt idx="41">
                  <c:v>11.759207168402538</c:v>
                </c:pt>
              </c:numCache>
            </c:numRef>
          </c:val>
          <c:extLst>
            <c:ext xmlns:c16="http://schemas.microsoft.com/office/drawing/2014/chart" uri="{C3380CC4-5D6E-409C-BE32-E72D297353CC}">
              <c16:uniqueId val="{00000000-0434-455E-8F02-782F92675E5D}"/>
            </c:ext>
          </c:extLst>
        </c:ser>
        <c:ser>
          <c:idx val="1"/>
          <c:order val="1"/>
          <c:tx>
            <c:strRef>
              <c:f>'G 1'!$E$3</c:f>
              <c:strCache>
                <c:ptCount val="1"/>
                <c:pt idx="0">
                  <c:v>Sociedades financieras</c:v>
                </c:pt>
              </c:strCache>
            </c:strRef>
          </c:tx>
          <c:spPr>
            <a:solidFill>
              <a:srgbClr val="1F4E79"/>
            </a:solidFill>
          </c:spPr>
          <c:invertIfNegative val="0"/>
          <c:cat>
            <c:multiLvlStrRef>
              <c:f>'G 1'!$B$4:$C$46</c:f>
              <c:multiLvlStrCache>
                <c:ptCount val="43"/>
                <c:lvl>
                  <c:pt idx="0">
                    <c:v>I</c:v>
                  </c:pt>
                  <c:pt idx="1">
                    <c:v>II</c:v>
                  </c:pt>
                  <c:pt idx="2">
                    <c:v>III</c:v>
                  </c:pt>
                  <c:pt idx="3">
                    <c:v>IV</c:v>
                  </c:pt>
                  <c:pt idx="4">
                    <c:v>I</c:v>
                  </c:pt>
                  <c:pt idx="5">
                    <c:v>II</c:v>
                  </c:pt>
                  <c:pt idx="6">
                    <c:v>III</c:v>
                  </c:pt>
                  <c:pt idx="7">
                    <c:v>IV</c:v>
                  </c:pt>
                  <c:pt idx="8">
                    <c:v>I</c:v>
                  </c:pt>
                  <c:pt idx="9">
                    <c:v>II</c:v>
                  </c:pt>
                  <c:pt idx="10">
                    <c:v>III</c:v>
                  </c:pt>
                  <c:pt idx="11">
                    <c:v>IV</c:v>
                  </c:pt>
                  <c:pt idx="12">
                    <c:v>I</c:v>
                  </c:pt>
                  <c:pt idx="13">
                    <c:v>II</c:v>
                  </c:pt>
                  <c:pt idx="14">
                    <c:v>III</c:v>
                  </c:pt>
                  <c:pt idx="15">
                    <c:v>IV</c:v>
                  </c:pt>
                  <c:pt idx="16">
                    <c:v>I</c:v>
                  </c:pt>
                  <c:pt idx="17">
                    <c:v>II</c:v>
                  </c:pt>
                  <c:pt idx="18">
                    <c:v>III</c:v>
                  </c:pt>
                  <c:pt idx="19">
                    <c:v>IV</c:v>
                  </c:pt>
                  <c:pt idx="20">
                    <c:v>I</c:v>
                  </c:pt>
                  <c:pt idx="21">
                    <c:v>II</c:v>
                  </c:pt>
                  <c:pt idx="22">
                    <c:v>III</c:v>
                  </c:pt>
                  <c:pt idx="23">
                    <c:v>IV</c:v>
                  </c:pt>
                  <c:pt idx="24">
                    <c:v>I</c:v>
                  </c:pt>
                  <c:pt idx="25">
                    <c:v>II</c:v>
                  </c:pt>
                  <c:pt idx="26">
                    <c:v>III</c:v>
                  </c:pt>
                  <c:pt idx="27">
                    <c:v>IV</c:v>
                  </c:pt>
                  <c:pt idx="28">
                    <c:v>I</c:v>
                  </c:pt>
                  <c:pt idx="29">
                    <c:v>II</c:v>
                  </c:pt>
                  <c:pt idx="30">
                    <c:v>III</c:v>
                  </c:pt>
                  <c:pt idx="31">
                    <c:v>IV</c:v>
                  </c:pt>
                  <c:pt idx="32">
                    <c:v>I</c:v>
                  </c:pt>
                  <c:pt idx="33">
                    <c:v>II</c:v>
                  </c:pt>
                  <c:pt idx="34">
                    <c:v>III</c:v>
                  </c:pt>
                  <c:pt idx="35">
                    <c:v>IV</c:v>
                  </c:pt>
                  <c:pt idx="36">
                    <c:v>I</c:v>
                  </c:pt>
                  <c:pt idx="37">
                    <c:v>II</c:v>
                  </c:pt>
                  <c:pt idx="38">
                    <c:v>III</c:v>
                  </c:pt>
                  <c:pt idx="39">
                    <c:v>IV</c:v>
                  </c:pt>
                  <c:pt idx="40">
                    <c:v>I</c:v>
                  </c:pt>
                  <c:pt idx="41">
                    <c:v>II</c:v>
                  </c:pt>
                  <c:pt idx="42">
                    <c:v>III</c:v>
                  </c:pt>
                </c:lvl>
                <c:lvl>
                  <c:pt idx="0">
                    <c:v>2013</c:v>
                  </c:pt>
                  <c:pt idx="4">
                    <c:v>2014</c:v>
                  </c:pt>
                  <c:pt idx="8">
                    <c:v>2015</c:v>
                  </c:pt>
                  <c:pt idx="12">
                    <c:v>2016</c:v>
                  </c:pt>
                  <c:pt idx="16">
                    <c:v>2017</c:v>
                  </c:pt>
                  <c:pt idx="20">
                    <c:v>2018</c:v>
                  </c:pt>
                  <c:pt idx="24">
                    <c:v>2019</c:v>
                  </c:pt>
                  <c:pt idx="28">
                    <c:v>2020</c:v>
                  </c:pt>
                  <c:pt idx="32">
                    <c:v>2021</c:v>
                  </c:pt>
                  <c:pt idx="36">
                    <c:v>2022</c:v>
                  </c:pt>
                  <c:pt idx="40">
                    <c:v>2023</c:v>
                  </c:pt>
                </c:lvl>
              </c:multiLvlStrCache>
            </c:multiLvlStrRef>
          </c:cat>
          <c:val>
            <c:numRef>
              <c:f>'G 1'!$E$4:$E$45</c:f>
              <c:numCache>
                <c:formatCode>_ * #,##0.0_ ;_ * \-#,##0.0_ ;_ * "-"_ ;_ @_ </c:formatCode>
                <c:ptCount val="42"/>
                <c:pt idx="0">
                  <c:v>1.48504510309394</c:v>
                </c:pt>
                <c:pt idx="1">
                  <c:v>1.3112126006327871</c:v>
                </c:pt>
                <c:pt idx="2">
                  <c:v>1.8795811428653078</c:v>
                </c:pt>
                <c:pt idx="3">
                  <c:v>1.7465045042732996</c:v>
                </c:pt>
                <c:pt idx="4">
                  <c:v>1.7895333471218366</c:v>
                </c:pt>
                <c:pt idx="5">
                  <c:v>2.2316254852366635</c:v>
                </c:pt>
                <c:pt idx="6">
                  <c:v>1.9618139927884484</c:v>
                </c:pt>
                <c:pt idx="7">
                  <c:v>2.175585488483291</c:v>
                </c:pt>
                <c:pt idx="8">
                  <c:v>1.9544184556830126</c:v>
                </c:pt>
                <c:pt idx="9">
                  <c:v>1.5453938216082486</c:v>
                </c:pt>
                <c:pt idx="10">
                  <c:v>1.9995866255794821</c:v>
                </c:pt>
                <c:pt idx="11">
                  <c:v>1.7257634517492071</c:v>
                </c:pt>
                <c:pt idx="12">
                  <c:v>1.8792291608392833</c:v>
                </c:pt>
                <c:pt idx="13">
                  <c:v>1.835029624679944</c:v>
                </c:pt>
                <c:pt idx="14">
                  <c:v>1.4386976688602093</c:v>
                </c:pt>
                <c:pt idx="15">
                  <c:v>1.3522602247426878</c:v>
                </c:pt>
                <c:pt idx="16">
                  <c:v>1.4171117774320112</c:v>
                </c:pt>
                <c:pt idx="17">
                  <c:v>1.4343396704345102</c:v>
                </c:pt>
                <c:pt idx="18">
                  <c:v>1.1484503256315246</c:v>
                </c:pt>
                <c:pt idx="19">
                  <c:v>0.97241239534991453</c:v>
                </c:pt>
                <c:pt idx="20">
                  <c:v>0.83020258685285109</c:v>
                </c:pt>
                <c:pt idx="21">
                  <c:v>0.57481501845636318</c:v>
                </c:pt>
                <c:pt idx="22">
                  <c:v>0.81045559540911183</c:v>
                </c:pt>
                <c:pt idx="23">
                  <c:v>1.1285056005726026</c:v>
                </c:pt>
                <c:pt idx="24">
                  <c:v>1.1795803616067595</c:v>
                </c:pt>
                <c:pt idx="25">
                  <c:v>1.5035193697185287</c:v>
                </c:pt>
                <c:pt idx="26">
                  <c:v>1.5021963935495712</c:v>
                </c:pt>
                <c:pt idx="27">
                  <c:v>1.6279522728380322</c:v>
                </c:pt>
                <c:pt idx="28">
                  <c:v>2.0435148612985481</c:v>
                </c:pt>
                <c:pt idx="29">
                  <c:v>2.1597684745572443</c:v>
                </c:pt>
                <c:pt idx="30">
                  <c:v>2.1836016137440812</c:v>
                </c:pt>
                <c:pt idx="31">
                  <c:v>2.3814714195631264</c:v>
                </c:pt>
                <c:pt idx="32">
                  <c:v>2.7226642588104375</c:v>
                </c:pt>
                <c:pt idx="33">
                  <c:v>2.7550951870360167</c:v>
                </c:pt>
                <c:pt idx="34">
                  <c:v>2.9441516478160761</c:v>
                </c:pt>
                <c:pt idx="35">
                  <c:v>3.3080649796787212</c:v>
                </c:pt>
                <c:pt idx="36">
                  <c:v>2.9167252700681723</c:v>
                </c:pt>
                <c:pt idx="37">
                  <c:v>3.2750167427247816</c:v>
                </c:pt>
                <c:pt idx="38">
                  <c:v>3.7916501430419589</c:v>
                </c:pt>
                <c:pt idx="39">
                  <c:v>3.1424844297281407</c:v>
                </c:pt>
                <c:pt idx="40">
                  <c:v>2.7770384667427028</c:v>
                </c:pt>
                <c:pt idx="41">
                  <c:v>2.0146331497428402</c:v>
                </c:pt>
              </c:numCache>
            </c:numRef>
          </c:val>
          <c:extLst>
            <c:ext xmlns:c16="http://schemas.microsoft.com/office/drawing/2014/chart" uri="{C3380CC4-5D6E-409C-BE32-E72D297353CC}">
              <c16:uniqueId val="{00000001-0434-455E-8F02-782F92675E5D}"/>
            </c:ext>
          </c:extLst>
        </c:ser>
        <c:ser>
          <c:idx val="2"/>
          <c:order val="2"/>
          <c:tx>
            <c:strRef>
              <c:f>'G 1'!$F$3</c:f>
              <c:strCache>
                <c:ptCount val="1"/>
                <c:pt idx="0">
                  <c:v>Gobierno general</c:v>
                </c:pt>
              </c:strCache>
            </c:strRef>
          </c:tx>
          <c:spPr>
            <a:solidFill>
              <a:srgbClr val="2F5598"/>
            </a:solidFill>
          </c:spPr>
          <c:invertIfNegative val="0"/>
          <c:cat>
            <c:multiLvlStrRef>
              <c:f>'G 1'!$B$4:$C$46</c:f>
              <c:multiLvlStrCache>
                <c:ptCount val="43"/>
                <c:lvl>
                  <c:pt idx="0">
                    <c:v>I</c:v>
                  </c:pt>
                  <c:pt idx="1">
                    <c:v>II</c:v>
                  </c:pt>
                  <c:pt idx="2">
                    <c:v>III</c:v>
                  </c:pt>
                  <c:pt idx="3">
                    <c:v>IV</c:v>
                  </c:pt>
                  <c:pt idx="4">
                    <c:v>I</c:v>
                  </c:pt>
                  <c:pt idx="5">
                    <c:v>II</c:v>
                  </c:pt>
                  <c:pt idx="6">
                    <c:v>III</c:v>
                  </c:pt>
                  <c:pt idx="7">
                    <c:v>IV</c:v>
                  </c:pt>
                  <c:pt idx="8">
                    <c:v>I</c:v>
                  </c:pt>
                  <c:pt idx="9">
                    <c:v>II</c:v>
                  </c:pt>
                  <c:pt idx="10">
                    <c:v>III</c:v>
                  </c:pt>
                  <c:pt idx="11">
                    <c:v>IV</c:v>
                  </c:pt>
                  <c:pt idx="12">
                    <c:v>I</c:v>
                  </c:pt>
                  <c:pt idx="13">
                    <c:v>II</c:v>
                  </c:pt>
                  <c:pt idx="14">
                    <c:v>III</c:v>
                  </c:pt>
                  <c:pt idx="15">
                    <c:v>IV</c:v>
                  </c:pt>
                  <c:pt idx="16">
                    <c:v>I</c:v>
                  </c:pt>
                  <c:pt idx="17">
                    <c:v>II</c:v>
                  </c:pt>
                  <c:pt idx="18">
                    <c:v>III</c:v>
                  </c:pt>
                  <c:pt idx="19">
                    <c:v>IV</c:v>
                  </c:pt>
                  <c:pt idx="20">
                    <c:v>I</c:v>
                  </c:pt>
                  <c:pt idx="21">
                    <c:v>II</c:v>
                  </c:pt>
                  <c:pt idx="22">
                    <c:v>III</c:v>
                  </c:pt>
                  <c:pt idx="23">
                    <c:v>IV</c:v>
                  </c:pt>
                  <c:pt idx="24">
                    <c:v>I</c:v>
                  </c:pt>
                  <c:pt idx="25">
                    <c:v>II</c:v>
                  </c:pt>
                  <c:pt idx="26">
                    <c:v>III</c:v>
                  </c:pt>
                  <c:pt idx="27">
                    <c:v>IV</c:v>
                  </c:pt>
                  <c:pt idx="28">
                    <c:v>I</c:v>
                  </c:pt>
                  <c:pt idx="29">
                    <c:v>II</c:v>
                  </c:pt>
                  <c:pt idx="30">
                    <c:v>III</c:v>
                  </c:pt>
                  <c:pt idx="31">
                    <c:v>IV</c:v>
                  </c:pt>
                  <c:pt idx="32">
                    <c:v>I</c:v>
                  </c:pt>
                  <c:pt idx="33">
                    <c:v>II</c:v>
                  </c:pt>
                  <c:pt idx="34">
                    <c:v>III</c:v>
                  </c:pt>
                  <c:pt idx="35">
                    <c:v>IV</c:v>
                  </c:pt>
                  <c:pt idx="36">
                    <c:v>I</c:v>
                  </c:pt>
                  <c:pt idx="37">
                    <c:v>II</c:v>
                  </c:pt>
                  <c:pt idx="38">
                    <c:v>III</c:v>
                  </c:pt>
                  <c:pt idx="39">
                    <c:v>IV</c:v>
                  </c:pt>
                  <c:pt idx="40">
                    <c:v>I</c:v>
                  </c:pt>
                  <c:pt idx="41">
                    <c:v>II</c:v>
                  </c:pt>
                  <c:pt idx="42">
                    <c:v>III</c:v>
                  </c:pt>
                </c:lvl>
                <c:lvl>
                  <c:pt idx="0">
                    <c:v>2013</c:v>
                  </c:pt>
                  <c:pt idx="4">
                    <c:v>2014</c:v>
                  </c:pt>
                  <c:pt idx="8">
                    <c:v>2015</c:v>
                  </c:pt>
                  <c:pt idx="12">
                    <c:v>2016</c:v>
                  </c:pt>
                  <c:pt idx="16">
                    <c:v>2017</c:v>
                  </c:pt>
                  <c:pt idx="20">
                    <c:v>2018</c:v>
                  </c:pt>
                  <c:pt idx="24">
                    <c:v>2019</c:v>
                  </c:pt>
                  <c:pt idx="28">
                    <c:v>2020</c:v>
                  </c:pt>
                  <c:pt idx="32">
                    <c:v>2021</c:v>
                  </c:pt>
                  <c:pt idx="36">
                    <c:v>2022</c:v>
                  </c:pt>
                  <c:pt idx="40">
                    <c:v>2023</c:v>
                  </c:pt>
                </c:lvl>
              </c:multiLvlStrCache>
            </c:multiLvlStrRef>
          </c:cat>
          <c:val>
            <c:numRef>
              <c:f>'G 1'!$F$4:$F$45</c:f>
              <c:numCache>
                <c:formatCode>_ * #,##0.0_ ;_ * \-#,##0.0_ ;_ * "-"_ ;_ @_ </c:formatCode>
                <c:ptCount val="42"/>
                <c:pt idx="0">
                  <c:v>3.6898888075482805</c:v>
                </c:pt>
                <c:pt idx="1">
                  <c:v>2.7521063388527165</c:v>
                </c:pt>
                <c:pt idx="2">
                  <c:v>3.3555885643139494</c:v>
                </c:pt>
                <c:pt idx="3">
                  <c:v>3.1553111315613767</c:v>
                </c:pt>
                <c:pt idx="4">
                  <c:v>2.6527935616734695</c:v>
                </c:pt>
                <c:pt idx="5">
                  <c:v>2.458208066811276</c:v>
                </c:pt>
                <c:pt idx="6">
                  <c:v>2.2514533328128454</c:v>
                </c:pt>
                <c:pt idx="7">
                  <c:v>2.0842275847428957</c:v>
                </c:pt>
                <c:pt idx="8">
                  <c:v>1.848644030751156</c:v>
                </c:pt>
                <c:pt idx="9">
                  <c:v>2.057074701781612</c:v>
                </c:pt>
                <c:pt idx="10">
                  <c:v>1.7909863572589828</c:v>
                </c:pt>
                <c:pt idx="11">
                  <c:v>2.1368581266924283</c:v>
                </c:pt>
                <c:pt idx="12">
                  <c:v>2.410086382486996</c:v>
                </c:pt>
                <c:pt idx="13">
                  <c:v>2.1844843339321485</c:v>
                </c:pt>
                <c:pt idx="14">
                  <c:v>1.5553953648071208</c:v>
                </c:pt>
                <c:pt idx="15">
                  <c:v>1.2742604616176167</c:v>
                </c:pt>
                <c:pt idx="16">
                  <c:v>0.94764918007227517</c:v>
                </c:pt>
                <c:pt idx="17">
                  <c:v>1.0581208172486973</c:v>
                </c:pt>
                <c:pt idx="18">
                  <c:v>1.0998453646465807</c:v>
                </c:pt>
                <c:pt idx="19">
                  <c:v>0.74739120492170352</c:v>
                </c:pt>
                <c:pt idx="20">
                  <c:v>0.85767036413683317</c:v>
                </c:pt>
                <c:pt idx="21">
                  <c:v>1.3169032378253973</c:v>
                </c:pt>
                <c:pt idx="22">
                  <c:v>1.9304123939725883</c:v>
                </c:pt>
                <c:pt idx="23">
                  <c:v>2.1264077311885048</c:v>
                </c:pt>
                <c:pt idx="24">
                  <c:v>1.8754986257074728</c:v>
                </c:pt>
                <c:pt idx="25">
                  <c:v>1.4545658269886159</c:v>
                </c:pt>
                <c:pt idx="26">
                  <c:v>0.88062047986457848</c:v>
                </c:pt>
                <c:pt idx="27">
                  <c:v>0.34542967355945997</c:v>
                </c:pt>
                <c:pt idx="28">
                  <c:v>0.34956070576089021</c:v>
                </c:pt>
                <c:pt idx="29">
                  <c:v>-1.6854872320205783</c:v>
                </c:pt>
                <c:pt idx="30">
                  <c:v>-3.8779417832072873</c:v>
                </c:pt>
                <c:pt idx="31">
                  <c:v>-3.9373434375850418</c:v>
                </c:pt>
                <c:pt idx="32">
                  <c:v>-4.2490201586833161</c:v>
                </c:pt>
                <c:pt idx="33">
                  <c:v>-3.5870722043658354</c:v>
                </c:pt>
                <c:pt idx="34">
                  <c:v>-3.9134879316505264</c:v>
                </c:pt>
                <c:pt idx="35">
                  <c:v>-4.0781951837194113</c:v>
                </c:pt>
                <c:pt idx="36">
                  <c:v>-2.7986150600021991</c:v>
                </c:pt>
                <c:pt idx="37">
                  <c:v>1.0626953985123488</c:v>
                </c:pt>
                <c:pt idx="38">
                  <c:v>3.4252096494933943</c:v>
                </c:pt>
                <c:pt idx="39">
                  <c:v>4.6187262330995464</c:v>
                </c:pt>
                <c:pt idx="40">
                  <c:v>4.5572904477455243</c:v>
                </c:pt>
                <c:pt idx="41">
                  <c:v>1.9444014301498482</c:v>
                </c:pt>
              </c:numCache>
            </c:numRef>
          </c:val>
          <c:extLst>
            <c:ext xmlns:c16="http://schemas.microsoft.com/office/drawing/2014/chart" uri="{C3380CC4-5D6E-409C-BE32-E72D297353CC}">
              <c16:uniqueId val="{00000002-0434-455E-8F02-782F92675E5D}"/>
            </c:ext>
          </c:extLst>
        </c:ser>
        <c:ser>
          <c:idx val="3"/>
          <c:order val="3"/>
          <c:tx>
            <c:strRef>
              <c:f>'G 1'!$G$3</c:f>
              <c:strCache>
                <c:ptCount val="1"/>
                <c:pt idx="0">
                  <c:v>Hogares</c:v>
                </c:pt>
              </c:strCache>
            </c:strRef>
          </c:tx>
          <c:spPr>
            <a:solidFill>
              <a:srgbClr val="0082AF"/>
            </a:solidFill>
          </c:spPr>
          <c:invertIfNegative val="0"/>
          <c:cat>
            <c:multiLvlStrRef>
              <c:f>'G 1'!$B$4:$C$46</c:f>
              <c:multiLvlStrCache>
                <c:ptCount val="43"/>
                <c:lvl>
                  <c:pt idx="0">
                    <c:v>I</c:v>
                  </c:pt>
                  <c:pt idx="1">
                    <c:v>II</c:v>
                  </c:pt>
                  <c:pt idx="2">
                    <c:v>III</c:v>
                  </c:pt>
                  <c:pt idx="3">
                    <c:v>IV</c:v>
                  </c:pt>
                  <c:pt idx="4">
                    <c:v>I</c:v>
                  </c:pt>
                  <c:pt idx="5">
                    <c:v>II</c:v>
                  </c:pt>
                  <c:pt idx="6">
                    <c:v>III</c:v>
                  </c:pt>
                  <c:pt idx="7">
                    <c:v>IV</c:v>
                  </c:pt>
                  <c:pt idx="8">
                    <c:v>I</c:v>
                  </c:pt>
                  <c:pt idx="9">
                    <c:v>II</c:v>
                  </c:pt>
                  <c:pt idx="10">
                    <c:v>III</c:v>
                  </c:pt>
                  <c:pt idx="11">
                    <c:v>IV</c:v>
                  </c:pt>
                  <c:pt idx="12">
                    <c:v>I</c:v>
                  </c:pt>
                  <c:pt idx="13">
                    <c:v>II</c:v>
                  </c:pt>
                  <c:pt idx="14">
                    <c:v>III</c:v>
                  </c:pt>
                  <c:pt idx="15">
                    <c:v>IV</c:v>
                  </c:pt>
                  <c:pt idx="16">
                    <c:v>I</c:v>
                  </c:pt>
                  <c:pt idx="17">
                    <c:v>II</c:v>
                  </c:pt>
                  <c:pt idx="18">
                    <c:v>III</c:v>
                  </c:pt>
                  <c:pt idx="19">
                    <c:v>IV</c:v>
                  </c:pt>
                  <c:pt idx="20">
                    <c:v>I</c:v>
                  </c:pt>
                  <c:pt idx="21">
                    <c:v>II</c:v>
                  </c:pt>
                  <c:pt idx="22">
                    <c:v>III</c:v>
                  </c:pt>
                  <c:pt idx="23">
                    <c:v>IV</c:v>
                  </c:pt>
                  <c:pt idx="24">
                    <c:v>I</c:v>
                  </c:pt>
                  <c:pt idx="25">
                    <c:v>II</c:v>
                  </c:pt>
                  <c:pt idx="26">
                    <c:v>III</c:v>
                  </c:pt>
                  <c:pt idx="27">
                    <c:v>IV</c:v>
                  </c:pt>
                  <c:pt idx="28">
                    <c:v>I</c:v>
                  </c:pt>
                  <c:pt idx="29">
                    <c:v>II</c:v>
                  </c:pt>
                  <c:pt idx="30">
                    <c:v>III</c:v>
                  </c:pt>
                  <c:pt idx="31">
                    <c:v>IV</c:v>
                  </c:pt>
                  <c:pt idx="32">
                    <c:v>I</c:v>
                  </c:pt>
                  <c:pt idx="33">
                    <c:v>II</c:v>
                  </c:pt>
                  <c:pt idx="34">
                    <c:v>III</c:v>
                  </c:pt>
                  <c:pt idx="35">
                    <c:v>IV</c:v>
                  </c:pt>
                  <c:pt idx="36">
                    <c:v>I</c:v>
                  </c:pt>
                  <c:pt idx="37">
                    <c:v>II</c:v>
                  </c:pt>
                  <c:pt idx="38">
                    <c:v>III</c:v>
                  </c:pt>
                  <c:pt idx="39">
                    <c:v>IV</c:v>
                  </c:pt>
                  <c:pt idx="40">
                    <c:v>I</c:v>
                  </c:pt>
                  <c:pt idx="41">
                    <c:v>II</c:v>
                  </c:pt>
                  <c:pt idx="42">
                    <c:v>III</c:v>
                  </c:pt>
                </c:lvl>
                <c:lvl>
                  <c:pt idx="0">
                    <c:v>2013</c:v>
                  </c:pt>
                  <c:pt idx="4">
                    <c:v>2014</c:v>
                  </c:pt>
                  <c:pt idx="8">
                    <c:v>2015</c:v>
                  </c:pt>
                  <c:pt idx="12">
                    <c:v>2016</c:v>
                  </c:pt>
                  <c:pt idx="16">
                    <c:v>2017</c:v>
                  </c:pt>
                  <c:pt idx="20">
                    <c:v>2018</c:v>
                  </c:pt>
                  <c:pt idx="24">
                    <c:v>2019</c:v>
                  </c:pt>
                  <c:pt idx="28">
                    <c:v>2020</c:v>
                  </c:pt>
                  <c:pt idx="32">
                    <c:v>2021</c:v>
                  </c:pt>
                  <c:pt idx="36">
                    <c:v>2022</c:v>
                  </c:pt>
                  <c:pt idx="40">
                    <c:v>2023</c:v>
                  </c:pt>
                </c:lvl>
              </c:multiLvlStrCache>
            </c:multiLvlStrRef>
          </c:cat>
          <c:val>
            <c:numRef>
              <c:f>'G 1'!$G$4:$G$45</c:f>
              <c:numCache>
                <c:formatCode>_ * #,##0.0_ ;_ * \-#,##0.0_ ;_ * "-"_ ;_ @_ </c:formatCode>
                <c:ptCount val="42"/>
                <c:pt idx="0">
                  <c:v>8.7164295302042643</c:v>
                </c:pt>
                <c:pt idx="1">
                  <c:v>8.7450189591949137</c:v>
                </c:pt>
                <c:pt idx="2">
                  <c:v>8.502027207530622</c:v>
                </c:pt>
                <c:pt idx="3">
                  <c:v>8.4883693494056214</c:v>
                </c:pt>
                <c:pt idx="4">
                  <c:v>8.5735518656461469</c:v>
                </c:pt>
                <c:pt idx="5">
                  <c:v>8.3277635686823075</c:v>
                </c:pt>
                <c:pt idx="6">
                  <c:v>8.4130409482882804</c:v>
                </c:pt>
                <c:pt idx="7">
                  <c:v>8.1194905607947767</c:v>
                </c:pt>
                <c:pt idx="8">
                  <c:v>8.1069745320567446</c:v>
                </c:pt>
                <c:pt idx="9">
                  <c:v>7.7285703093206255</c:v>
                </c:pt>
                <c:pt idx="10">
                  <c:v>7.2737113423540585</c:v>
                </c:pt>
                <c:pt idx="11">
                  <c:v>6.7077623708199239</c:v>
                </c:pt>
                <c:pt idx="12">
                  <c:v>6.3757473594979377</c:v>
                </c:pt>
                <c:pt idx="13">
                  <c:v>6.7729387444558364</c:v>
                </c:pt>
                <c:pt idx="14">
                  <c:v>7.0578637270163265</c:v>
                </c:pt>
                <c:pt idx="15">
                  <c:v>7.2562163935529513</c:v>
                </c:pt>
                <c:pt idx="16">
                  <c:v>6.8969182571594203</c:v>
                </c:pt>
                <c:pt idx="17">
                  <c:v>6.3803403199871713</c:v>
                </c:pt>
                <c:pt idx="18">
                  <c:v>5.9731528737743842</c:v>
                </c:pt>
                <c:pt idx="19">
                  <c:v>6.0500508570566955</c:v>
                </c:pt>
                <c:pt idx="20">
                  <c:v>6.0112099269922048</c:v>
                </c:pt>
                <c:pt idx="21">
                  <c:v>6.1672119630595112</c:v>
                </c:pt>
                <c:pt idx="22">
                  <c:v>6.0584488298606862</c:v>
                </c:pt>
                <c:pt idx="23">
                  <c:v>6.0969930350352479</c:v>
                </c:pt>
                <c:pt idx="24">
                  <c:v>6.72885454785518</c:v>
                </c:pt>
                <c:pt idx="25">
                  <c:v>7.0361073330163633</c:v>
                </c:pt>
                <c:pt idx="26">
                  <c:v>7.2773098194256844</c:v>
                </c:pt>
                <c:pt idx="27">
                  <c:v>8.1247401730095543</c:v>
                </c:pt>
                <c:pt idx="28">
                  <c:v>7.5827890217567404</c:v>
                </c:pt>
                <c:pt idx="29">
                  <c:v>9.4299296807525756</c:v>
                </c:pt>
                <c:pt idx="30">
                  <c:v>10.103647124905082</c:v>
                </c:pt>
                <c:pt idx="31">
                  <c:v>7.6028871717658024</c:v>
                </c:pt>
                <c:pt idx="32">
                  <c:v>6.3744748578919666</c:v>
                </c:pt>
                <c:pt idx="33">
                  <c:v>4.0893139659930728</c:v>
                </c:pt>
                <c:pt idx="34">
                  <c:v>3.4838157127972718</c:v>
                </c:pt>
                <c:pt idx="35">
                  <c:v>4.9172432119997476</c:v>
                </c:pt>
                <c:pt idx="36">
                  <c:v>3.7986836566602458</c:v>
                </c:pt>
                <c:pt idx="37">
                  <c:v>1.9826653254235376</c:v>
                </c:pt>
                <c:pt idx="38">
                  <c:v>0.60966382298386224</c:v>
                </c:pt>
                <c:pt idx="39">
                  <c:v>-0.67915056819366526</c:v>
                </c:pt>
                <c:pt idx="40">
                  <c:v>0.8872726373086236</c:v>
                </c:pt>
                <c:pt idx="41">
                  <c:v>2.9041700892750533</c:v>
                </c:pt>
              </c:numCache>
            </c:numRef>
          </c:val>
          <c:extLst>
            <c:ext xmlns:c16="http://schemas.microsoft.com/office/drawing/2014/chart" uri="{C3380CC4-5D6E-409C-BE32-E72D297353CC}">
              <c16:uniqueId val="{00000003-0434-455E-8F02-782F92675E5D}"/>
            </c:ext>
          </c:extLst>
        </c:ser>
        <c:dLbls>
          <c:showLegendKey val="0"/>
          <c:showVal val="0"/>
          <c:showCatName val="0"/>
          <c:showSerName val="0"/>
          <c:showPercent val="0"/>
          <c:showBubbleSize val="0"/>
        </c:dLbls>
        <c:gapWidth val="20"/>
        <c:overlap val="100"/>
        <c:axId val="621789768"/>
        <c:axId val="621795256"/>
      </c:barChart>
      <c:lineChart>
        <c:grouping val="standard"/>
        <c:varyColors val="0"/>
        <c:ser>
          <c:idx val="4"/>
          <c:order val="4"/>
          <c:tx>
            <c:strRef>
              <c:f>'G 1'!$H$3</c:f>
              <c:strCache>
                <c:ptCount val="1"/>
                <c:pt idx="0">
                  <c:v>Economía nacional</c:v>
                </c:pt>
              </c:strCache>
            </c:strRef>
          </c:tx>
          <c:spPr>
            <a:ln>
              <a:solidFill>
                <a:srgbClr val="80C0CD"/>
              </a:solidFill>
            </a:ln>
          </c:spPr>
          <c:marker>
            <c:symbol val="none"/>
          </c:marker>
          <c:dPt>
            <c:idx val="42"/>
            <c:marker>
              <c:symbol val="diamond"/>
              <c:size val="9"/>
              <c:spPr>
                <a:solidFill>
                  <a:srgbClr val="80C0CD"/>
                </a:solidFill>
                <a:ln>
                  <a:solidFill>
                    <a:srgbClr val="80C0CD"/>
                  </a:solidFill>
                </a:ln>
              </c:spPr>
            </c:marker>
            <c:bubble3D val="0"/>
            <c:extLst>
              <c:ext xmlns:c16="http://schemas.microsoft.com/office/drawing/2014/chart" uri="{C3380CC4-5D6E-409C-BE32-E72D297353CC}">
                <c16:uniqueId val="{00000004-0434-455E-8F02-782F92675E5D}"/>
              </c:ext>
            </c:extLst>
          </c:dPt>
          <c:dLbls>
            <c:dLbl>
              <c:idx val="42"/>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0434-455E-8F02-782F92675E5D}"/>
                </c:ext>
              </c:extLst>
            </c:dLbl>
            <c:spPr>
              <a:noFill/>
              <a:ln>
                <a:noFill/>
              </a:ln>
              <a:effectLst/>
            </c:spPr>
            <c:txPr>
              <a:bodyPr/>
              <a:lstStyle/>
              <a:p>
                <a:pPr>
                  <a:defRPr b="1">
                    <a:solidFill>
                      <a:srgbClr val="80C0CD"/>
                    </a:solidFill>
                  </a:defRPr>
                </a:pPr>
                <a:endParaRPr lang="es-CL"/>
              </a:p>
            </c:txPr>
            <c:dLblPos val="t"/>
            <c:showLegendKey val="0"/>
            <c:showVal val="0"/>
            <c:showCatName val="0"/>
            <c:showSerName val="0"/>
            <c:showPercent val="0"/>
            <c:showBubbleSize val="0"/>
            <c:extLst>
              <c:ext xmlns:c15="http://schemas.microsoft.com/office/drawing/2012/chart" uri="{CE6537A1-D6FC-4f65-9D91-7224C49458BB}">
                <c15:showLeaderLines val="1"/>
              </c:ext>
            </c:extLst>
          </c:dLbls>
          <c:cat>
            <c:multiLvlStrRef>
              <c:f>'G 1'!$B$4:$C$46</c:f>
              <c:multiLvlStrCache>
                <c:ptCount val="43"/>
                <c:lvl>
                  <c:pt idx="0">
                    <c:v>I</c:v>
                  </c:pt>
                  <c:pt idx="1">
                    <c:v>II</c:v>
                  </c:pt>
                  <c:pt idx="2">
                    <c:v>III</c:v>
                  </c:pt>
                  <c:pt idx="3">
                    <c:v>IV</c:v>
                  </c:pt>
                  <c:pt idx="4">
                    <c:v>I</c:v>
                  </c:pt>
                  <c:pt idx="5">
                    <c:v>II</c:v>
                  </c:pt>
                  <c:pt idx="6">
                    <c:v>III</c:v>
                  </c:pt>
                  <c:pt idx="7">
                    <c:v>IV</c:v>
                  </c:pt>
                  <c:pt idx="8">
                    <c:v>I</c:v>
                  </c:pt>
                  <c:pt idx="9">
                    <c:v>II</c:v>
                  </c:pt>
                  <c:pt idx="10">
                    <c:v>III</c:v>
                  </c:pt>
                  <c:pt idx="11">
                    <c:v>IV</c:v>
                  </c:pt>
                  <c:pt idx="12">
                    <c:v>I</c:v>
                  </c:pt>
                  <c:pt idx="13">
                    <c:v>II</c:v>
                  </c:pt>
                  <c:pt idx="14">
                    <c:v>III</c:v>
                  </c:pt>
                  <c:pt idx="15">
                    <c:v>IV</c:v>
                  </c:pt>
                  <c:pt idx="16">
                    <c:v>I</c:v>
                  </c:pt>
                  <c:pt idx="17">
                    <c:v>II</c:v>
                  </c:pt>
                  <c:pt idx="18">
                    <c:v>III</c:v>
                  </c:pt>
                  <c:pt idx="19">
                    <c:v>IV</c:v>
                  </c:pt>
                  <c:pt idx="20">
                    <c:v>I</c:v>
                  </c:pt>
                  <c:pt idx="21">
                    <c:v>II</c:v>
                  </c:pt>
                  <c:pt idx="22">
                    <c:v>III</c:v>
                  </c:pt>
                  <c:pt idx="23">
                    <c:v>IV</c:v>
                  </c:pt>
                  <c:pt idx="24">
                    <c:v>I</c:v>
                  </c:pt>
                  <c:pt idx="25">
                    <c:v>II</c:v>
                  </c:pt>
                  <c:pt idx="26">
                    <c:v>III</c:v>
                  </c:pt>
                  <c:pt idx="27">
                    <c:v>IV</c:v>
                  </c:pt>
                  <c:pt idx="28">
                    <c:v>I</c:v>
                  </c:pt>
                  <c:pt idx="29">
                    <c:v>II</c:v>
                  </c:pt>
                  <c:pt idx="30">
                    <c:v>III</c:v>
                  </c:pt>
                  <c:pt idx="31">
                    <c:v>IV</c:v>
                  </c:pt>
                  <c:pt idx="32">
                    <c:v>I</c:v>
                  </c:pt>
                  <c:pt idx="33">
                    <c:v>II</c:v>
                  </c:pt>
                  <c:pt idx="34">
                    <c:v>III</c:v>
                  </c:pt>
                  <c:pt idx="35">
                    <c:v>IV</c:v>
                  </c:pt>
                  <c:pt idx="36">
                    <c:v>I</c:v>
                  </c:pt>
                  <c:pt idx="37">
                    <c:v>II</c:v>
                  </c:pt>
                  <c:pt idx="38">
                    <c:v>III</c:v>
                  </c:pt>
                  <c:pt idx="39">
                    <c:v>IV</c:v>
                  </c:pt>
                  <c:pt idx="40">
                    <c:v>I</c:v>
                  </c:pt>
                  <c:pt idx="41">
                    <c:v>II</c:v>
                  </c:pt>
                  <c:pt idx="42">
                    <c:v>III</c:v>
                  </c:pt>
                </c:lvl>
                <c:lvl>
                  <c:pt idx="0">
                    <c:v>2013</c:v>
                  </c:pt>
                  <c:pt idx="4">
                    <c:v>2014</c:v>
                  </c:pt>
                  <c:pt idx="8">
                    <c:v>2015</c:v>
                  </c:pt>
                  <c:pt idx="12">
                    <c:v>2016</c:v>
                  </c:pt>
                  <c:pt idx="16">
                    <c:v>2017</c:v>
                  </c:pt>
                  <c:pt idx="20">
                    <c:v>2018</c:v>
                  </c:pt>
                  <c:pt idx="24">
                    <c:v>2019</c:v>
                  </c:pt>
                  <c:pt idx="28">
                    <c:v>2020</c:v>
                  </c:pt>
                  <c:pt idx="32">
                    <c:v>2021</c:v>
                  </c:pt>
                  <c:pt idx="36">
                    <c:v>2022</c:v>
                  </c:pt>
                  <c:pt idx="40">
                    <c:v>2023</c:v>
                  </c:pt>
                </c:lvl>
              </c:multiLvlStrCache>
            </c:multiLvlStrRef>
          </c:cat>
          <c:val>
            <c:numRef>
              <c:f>'G 1'!$H$4:$H$46</c:f>
              <c:numCache>
                <c:formatCode>_ * #,##0.0_ ;_ * \-#,##0.0_ ;_ * "-"_ ;_ @_ </c:formatCode>
                <c:ptCount val="43"/>
                <c:pt idx="0">
                  <c:v>23.343050163134066</c:v>
                </c:pt>
                <c:pt idx="1">
                  <c:v>23.21092194100471</c:v>
                </c:pt>
                <c:pt idx="2">
                  <c:v>23.052223773074623</c:v>
                </c:pt>
                <c:pt idx="3">
                  <c:v>22.702170167968383</c:v>
                </c:pt>
                <c:pt idx="4">
                  <c:v>22.15468746864034</c:v>
                </c:pt>
                <c:pt idx="5">
                  <c:v>21.951560711397374</c:v>
                </c:pt>
                <c:pt idx="6">
                  <c:v>21.8360606419334</c:v>
                </c:pt>
                <c:pt idx="7">
                  <c:v>21.709035269793052</c:v>
                </c:pt>
                <c:pt idx="8">
                  <c:v>22.353256696789899</c:v>
                </c:pt>
                <c:pt idx="9">
                  <c:v>22.595600436953188</c:v>
                </c:pt>
                <c:pt idx="10">
                  <c:v>22.776622920844076</c:v>
                </c:pt>
                <c:pt idx="11">
                  <c:v>22.777661504353855</c:v>
                </c:pt>
                <c:pt idx="12">
                  <c:v>22.731806153260699</c:v>
                </c:pt>
                <c:pt idx="13">
                  <c:v>22.006992319571445</c:v>
                </c:pt>
                <c:pt idx="14">
                  <c:v>21.487126943981821</c:v>
                </c:pt>
                <c:pt idx="15">
                  <c:v>21.127279759543658</c:v>
                </c:pt>
                <c:pt idx="16">
                  <c:v>20.282044744892406</c:v>
                </c:pt>
                <c:pt idx="17">
                  <c:v>19.930335684124785</c:v>
                </c:pt>
                <c:pt idx="18">
                  <c:v>19.803871588906212</c:v>
                </c:pt>
                <c:pt idx="19">
                  <c:v>19.875410400125809</c:v>
                </c:pt>
                <c:pt idx="20">
                  <c:v>20.016482666421481</c:v>
                </c:pt>
                <c:pt idx="21">
                  <c:v>20.167549246220755</c:v>
                </c:pt>
                <c:pt idx="22">
                  <c:v>19.974955812575505</c:v>
                </c:pt>
                <c:pt idx="23">
                  <c:v>19.634073753008661</c:v>
                </c:pt>
                <c:pt idx="24">
                  <c:v>19.774471865658064</c:v>
                </c:pt>
                <c:pt idx="25">
                  <c:v>19.586713214016136</c:v>
                </c:pt>
                <c:pt idx="26">
                  <c:v>19.564680068645661</c:v>
                </c:pt>
                <c:pt idx="27">
                  <c:v>19.792312114698241</c:v>
                </c:pt>
                <c:pt idx="28">
                  <c:v>19.261328143874273</c:v>
                </c:pt>
                <c:pt idx="29">
                  <c:v>20.10251146196245</c:v>
                </c:pt>
                <c:pt idx="30">
                  <c:v>19.682780871366312</c:v>
                </c:pt>
                <c:pt idx="31">
                  <c:v>19.201087125828654</c:v>
                </c:pt>
                <c:pt idx="32">
                  <c:v>19.121255614931101</c:v>
                </c:pt>
                <c:pt idx="33">
                  <c:v>17.612021406516725</c:v>
                </c:pt>
                <c:pt idx="34">
                  <c:v>17.366270434582148</c:v>
                </c:pt>
                <c:pt idx="35">
                  <c:v>17.066560230633222</c:v>
                </c:pt>
                <c:pt idx="36">
                  <c:v>16.994277575643576</c:v>
                </c:pt>
                <c:pt idx="37">
                  <c:v>16.369708932511674</c:v>
                </c:pt>
                <c:pt idx="38">
                  <c:v>16.466112661573224</c:v>
                </c:pt>
                <c:pt idx="39">
                  <c:v>16.441646618139551</c:v>
                </c:pt>
                <c:pt idx="40">
                  <c:v>17.302543760222552</c:v>
                </c:pt>
                <c:pt idx="41">
                  <c:v>18.590267578676027</c:v>
                </c:pt>
                <c:pt idx="42">
                  <c:v>18.857709496951674</c:v>
                </c:pt>
              </c:numCache>
            </c:numRef>
          </c:val>
          <c:smooth val="0"/>
          <c:extLst>
            <c:ext xmlns:c16="http://schemas.microsoft.com/office/drawing/2014/chart" uri="{C3380CC4-5D6E-409C-BE32-E72D297353CC}">
              <c16:uniqueId val="{00000005-0434-455E-8F02-782F92675E5D}"/>
            </c:ext>
          </c:extLst>
        </c:ser>
        <c:dLbls>
          <c:showLegendKey val="0"/>
          <c:showVal val="0"/>
          <c:showCatName val="0"/>
          <c:showSerName val="0"/>
          <c:showPercent val="0"/>
          <c:showBubbleSize val="0"/>
        </c:dLbls>
        <c:marker val="1"/>
        <c:smooth val="0"/>
        <c:axId val="621789768"/>
        <c:axId val="621795256"/>
      </c:lineChart>
      <c:catAx>
        <c:axId val="621789768"/>
        <c:scaling>
          <c:orientation val="minMax"/>
        </c:scaling>
        <c:delete val="0"/>
        <c:axPos val="b"/>
        <c:numFmt formatCode="General" sourceLinked="0"/>
        <c:majorTickMark val="none"/>
        <c:minorTickMark val="none"/>
        <c:tickLblPos val="low"/>
        <c:spPr>
          <a:ln>
            <a:solidFill>
              <a:schemeClr val="tx1"/>
            </a:solidFill>
          </a:ln>
        </c:spPr>
        <c:txPr>
          <a:bodyPr rot="0" vert="horz"/>
          <a:lstStyle/>
          <a:p>
            <a:pPr>
              <a:defRPr sz="1200"/>
            </a:pPr>
            <a:endParaRPr lang="es-CL"/>
          </a:p>
        </c:txPr>
        <c:crossAx val="621795256"/>
        <c:crosses val="autoZero"/>
        <c:auto val="1"/>
        <c:lblAlgn val="ctr"/>
        <c:lblOffset val="100"/>
        <c:tickLblSkip val="2"/>
        <c:tickMarkSkip val="1"/>
        <c:noMultiLvlLbl val="0"/>
      </c:catAx>
      <c:valAx>
        <c:axId val="621795256"/>
        <c:scaling>
          <c:orientation val="minMax"/>
        </c:scaling>
        <c:delete val="0"/>
        <c:axPos val="l"/>
        <c:numFmt formatCode="#,##0" sourceLinked="0"/>
        <c:majorTickMark val="out"/>
        <c:minorTickMark val="none"/>
        <c:tickLblPos val="nextTo"/>
        <c:spPr>
          <a:ln>
            <a:solidFill>
              <a:schemeClr val="tx1">
                <a:lumMod val="50000"/>
                <a:lumOff val="50000"/>
              </a:schemeClr>
            </a:solidFill>
          </a:ln>
        </c:spPr>
        <c:txPr>
          <a:bodyPr/>
          <a:lstStyle/>
          <a:p>
            <a:pPr>
              <a:defRPr sz="1200"/>
            </a:pPr>
            <a:endParaRPr lang="es-CL"/>
          </a:p>
        </c:txPr>
        <c:crossAx val="621789768"/>
        <c:crosses val="autoZero"/>
        <c:crossBetween val="between"/>
      </c:valAx>
    </c:plotArea>
    <c:legend>
      <c:legendPos val="t"/>
      <c:layout>
        <c:manualLayout>
          <c:xMode val="edge"/>
          <c:yMode val="edge"/>
          <c:x val="2.7188888888888892E-3"/>
          <c:y val="0.12801452991452991"/>
          <c:w val="0.98172296296296291"/>
          <c:h val="7.9542094017094014E-2"/>
        </c:manualLayout>
      </c:layout>
      <c:overlay val="0"/>
      <c:txPr>
        <a:bodyPr/>
        <a:lstStyle/>
        <a:p>
          <a:pPr>
            <a:defRPr sz="1050">
              <a:solidFill>
                <a:schemeClr val="bg2">
                  <a:lumMod val="25000"/>
                </a:schemeClr>
              </a:solidFill>
            </a:defRPr>
          </a:pPr>
          <a:endParaRPr lang="es-CL"/>
        </a:p>
      </c:txPr>
    </c:legend>
    <c:plotVisOnly val="1"/>
    <c:dispBlanksAs val="gap"/>
    <c:showDLblsOverMax val="0"/>
  </c:chart>
  <c:spPr>
    <a:ln>
      <a:noFill/>
    </a:ln>
  </c:spPr>
  <c:txPr>
    <a:bodyPr/>
    <a:lstStyle/>
    <a:p>
      <a:pPr>
        <a:defRPr>
          <a:solidFill>
            <a:sysClr val="windowText" lastClr="000000"/>
          </a:solidFill>
          <a:latin typeface="gobCL" panose="02000603050000020004"/>
          <a:cs typeface="Times New Roman" pitchFamily="18" charset="0"/>
        </a:defRPr>
      </a:pPr>
      <a:endParaRPr lang="es-CL"/>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rgbClr val="000000"/>
                </a:solidFill>
                <a:latin typeface="gobCL" pitchFamily="50" charset="0"/>
                <a:ea typeface="Helvetica"/>
                <a:cs typeface="Helvetica"/>
              </a:defRPr>
            </a:pPr>
            <a:r>
              <a:rPr lang="es-CL" b="1"/>
              <a:t>Empleo</a:t>
            </a:r>
            <a:r>
              <a:rPr lang="es-CL" b="1" baseline="0"/>
              <a:t> asalariado ENE y Registros administrativos (1)</a:t>
            </a:r>
            <a:r>
              <a:rPr lang="es-CL"/>
              <a:t>
</a:t>
            </a:r>
            <a:r>
              <a:rPr lang="es-CL" sz="1200"/>
              <a:t>(miles</a:t>
            </a:r>
            <a:r>
              <a:rPr lang="es-CL" sz="1200" baseline="0"/>
              <a:t> de personas</a:t>
            </a:r>
            <a:r>
              <a:rPr lang="es-CL" sz="1200"/>
              <a:t>)</a:t>
            </a:r>
          </a:p>
        </c:rich>
      </c:tx>
      <c:overlay val="0"/>
      <c:spPr>
        <a:noFill/>
        <a:ln>
          <a:noFill/>
        </a:ln>
        <a:effectLst/>
      </c:spPr>
      <c:txPr>
        <a:bodyPr rot="0" spcFirstLastPara="1" vertOverflow="ellipsis" vert="horz" wrap="square" anchor="ctr" anchorCtr="1"/>
        <a:lstStyle/>
        <a:p>
          <a:pPr>
            <a:defRPr sz="1440" b="0" i="0" u="none" strike="noStrike" kern="1200" spc="0" baseline="0">
              <a:solidFill>
                <a:srgbClr val="000000"/>
              </a:solidFill>
              <a:latin typeface="gobCL" pitchFamily="50" charset="0"/>
              <a:ea typeface="Helvetica"/>
              <a:cs typeface="Helvetica"/>
            </a:defRPr>
          </a:pPr>
          <a:endParaRPr lang="es-CL"/>
        </a:p>
      </c:txPr>
    </c:title>
    <c:autoTitleDeleted val="0"/>
    <c:plotArea>
      <c:layout/>
      <c:lineChart>
        <c:grouping val="standard"/>
        <c:varyColors val="0"/>
        <c:ser>
          <c:idx val="0"/>
          <c:order val="0"/>
          <c:tx>
            <c:strRef>
              <c:f>Ambos!$C$5</c:f>
              <c:strCache>
                <c:ptCount val="1"/>
                <c:pt idx="0">
                  <c:v>Registros administrativos</c:v>
                </c:pt>
              </c:strCache>
            </c:strRef>
          </c:tx>
          <c:spPr>
            <a:ln w="28575" cap="rnd">
              <a:solidFill>
                <a:srgbClr val="1F4E79"/>
              </a:solidFill>
              <a:round/>
            </a:ln>
            <a:effectLst/>
          </c:spPr>
          <c:marker>
            <c:symbol val="none"/>
          </c:marker>
          <c:cat>
            <c:multiLvlStrRef>
              <c:f>Ambos!$I$116:$J$170</c:f>
              <c:multiLvlStrCache>
                <c:ptCount val="55"/>
                <c:lvl>
                  <c:pt idx="0">
                    <c:v>feb - abr</c:v>
                  </c:pt>
                  <c:pt idx="1">
                    <c:v>mar - may</c:v>
                  </c:pt>
                  <c:pt idx="2">
                    <c:v>abr - jun</c:v>
                  </c:pt>
                  <c:pt idx="3">
                    <c:v>may -jul</c:v>
                  </c:pt>
                  <c:pt idx="4">
                    <c:v>jun - ago</c:v>
                  </c:pt>
                  <c:pt idx="5">
                    <c:v>jul - sep</c:v>
                  </c:pt>
                  <c:pt idx="6">
                    <c:v>ago - oct</c:v>
                  </c:pt>
                  <c:pt idx="7">
                    <c:v>sep - nov</c:v>
                  </c:pt>
                  <c:pt idx="8">
                    <c:v>oct - dic</c:v>
                  </c:pt>
                  <c:pt idx="9">
                    <c:v>nov - ene</c:v>
                  </c:pt>
                  <c:pt idx="10">
                    <c:v>dic - feb</c:v>
                  </c:pt>
                  <c:pt idx="11">
                    <c:v>ene - mar</c:v>
                  </c:pt>
                  <c:pt idx="12">
                    <c:v>feb - abr</c:v>
                  </c:pt>
                  <c:pt idx="13">
                    <c:v>mar - may</c:v>
                  </c:pt>
                  <c:pt idx="14">
                    <c:v>abr - jun</c:v>
                  </c:pt>
                  <c:pt idx="15">
                    <c:v>may -jul</c:v>
                  </c:pt>
                  <c:pt idx="16">
                    <c:v>jun - ago</c:v>
                  </c:pt>
                  <c:pt idx="17">
                    <c:v>jul - sep</c:v>
                  </c:pt>
                  <c:pt idx="18">
                    <c:v>ago - oct</c:v>
                  </c:pt>
                  <c:pt idx="19">
                    <c:v>sep - nov</c:v>
                  </c:pt>
                  <c:pt idx="20">
                    <c:v>oct - dic</c:v>
                  </c:pt>
                  <c:pt idx="21">
                    <c:v>nov - ene</c:v>
                  </c:pt>
                  <c:pt idx="22">
                    <c:v>dic - feb</c:v>
                  </c:pt>
                  <c:pt idx="23">
                    <c:v>ene - mar</c:v>
                  </c:pt>
                  <c:pt idx="24">
                    <c:v>feb - abr</c:v>
                  </c:pt>
                  <c:pt idx="25">
                    <c:v>mar - may</c:v>
                  </c:pt>
                  <c:pt idx="26">
                    <c:v>abr - jun</c:v>
                  </c:pt>
                  <c:pt idx="27">
                    <c:v>may -jul</c:v>
                  </c:pt>
                  <c:pt idx="28">
                    <c:v>jun - ago</c:v>
                  </c:pt>
                  <c:pt idx="29">
                    <c:v>jul - sep</c:v>
                  </c:pt>
                  <c:pt idx="30">
                    <c:v>ago - oct</c:v>
                  </c:pt>
                  <c:pt idx="31">
                    <c:v>sep - nov</c:v>
                  </c:pt>
                  <c:pt idx="32">
                    <c:v>oct - dic</c:v>
                  </c:pt>
                  <c:pt idx="33">
                    <c:v>nov - ene</c:v>
                  </c:pt>
                  <c:pt idx="34">
                    <c:v>dic - feb</c:v>
                  </c:pt>
                  <c:pt idx="35">
                    <c:v>ene - mar</c:v>
                  </c:pt>
                  <c:pt idx="36">
                    <c:v>feb - abr</c:v>
                  </c:pt>
                  <c:pt idx="37">
                    <c:v>mar - may</c:v>
                  </c:pt>
                  <c:pt idx="38">
                    <c:v>abr - jun</c:v>
                  </c:pt>
                  <c:pt idx="39">
                    <c:v>may -jul</c:v>
                  </c:pt>
                  <c:pt idx="40">
                    <c:v>jun - ago</c:v>
                  </c:pt>
                  <c:pt idx="41">
                    <c:v>jul - sep</c:v>
                  </c:pt>
                  <c:pt idx="42">
                    <c:v>ago - oct</c:v>
                  </c:pt>
                  <c:pt idx="43">
                    <c:v>sep - nov</c:v>
                  </c:pt>
                  <c:pt idx="44">
                    <c:v>oct - dic</c:v>
                  </c:pt>
                  <c:pt idx="45">
                    <c:v>nov - ene</c:v>
                  </c:pt>
                  <c:pt idx="46">
                    <c:v>dic - feb</c:v>
                  </c:pt>
                  <c:pt idx="47">
                    <c:v>ene - mar</c:v>
                  </c:pt>
                  <c:pt idx="48">
                    <c:v>feb - abr</c:v>
                  </c:pt>
                  <c:pt idx="49">
                    <c:v>mar - may</c:v>
                  </c:pt>
                  <c:pt idx="50">
                    <c:v>abr - jun</c:v>
                  </c:pt>
                  <c:pt idx="51">
                    <c:v>may -jul</c:v>
                  </c:pt>
                  <c:pt idx="52">
                    <c:v>jun - ago</c:v>
                  </c:pt>
                  <c:pt idx="53">
                    <c:v>jul - sep</c:v>
                  </c:pt>
                  <c:pt idx="54">
                    <c:v>ago - oct</c:v>
                  </c:pt>
                </c:lvl>
                <c:lvl>
                  <c:pt idx="0">
                    <c:v>2019</c:v>
                  </c:pt>
                  <c:pt idx="10">
                    <c:v>2020</c:v>
                  </c:pt>
                  <c:pt idx="22">
                    <c:v>2021</c:v>
                  </c:pt>
                  <c:pt idx="34">
                    <c:v>2022</c:v>
                  </c:pt>
                  <c:pt idx="46">
                    <c:v>2023</c:v>
                  </c:pt>
                </c:lvl>
              </c:multiLvlStrCache>
            </c:multiLvlStrRef>
          </c:cat>
          <c:val>
            <c:numRef>
              <c:f>Ambos!$C$116:$C$170</c:f>
              <c:numCache>
                <c:formatCode>#,##0</c:formatCode>
                <c:ptCount val="55"/>
                <c:pt idx="0">
                  <c:v>5463.3106666666672</c:v>
                </c:pt>
                <c:pt idx="1">
                  <c:v>5419.6933333333327</c:v>
                </c:pt>
                <c:pt idx="2">
                  <c:v>5396.9669999999996</c:v>
                </c:pt>
                <c:pt idx="3">
                  <c:v>5400.7376666666669</c:v>
                </c:pt>
                <c:pt idx="4">
                  <c:v>5430.1509999999998</c:v>
                </c:pt>
                <c:pt idx="5">
                  <c:v>5435.0529999999999</c:v>
                </c:pt>
                <c:pt idx="6">
                  <c:v>5437.0513333333329</c:v>
                </c:pt>
                <c:pt idx="7">
                  <c:v>5466.6763333333329</c:v>
                </c:pt>
                <c:pt idx="8">
                  <c:v>5538.2853333333333</c:v>
                </c:pt>
                <c:pt idx="9">
                  <c:v>5553.7479999999996</c:v>
                </c:pt>
                <c:pt idx="10">
                  <c:v>5551.2539999999999</c:v>
                </c:pt>
                <c:pt idx="11">
                  <c:v>5491.393</c:v>
                </c:pt>
                <c:pt idx="12">
                  <c:v>5385.4973333333328</c:v>
                </c:pt>
                <c:pt idx="13">
                  <c:v>5231.0703333333331</c:v>
                </c:pt>
                <c:pt idx="14">
                  <c:v>5108.7020000000002</c:v>
                </c:pt>
                <c:pt idx="15">
                  <c:v>5075.2709999999997</c:v>
                </c:pt>
                <c:pt idx="16">
                  <c:v>5090.6450000000004</c:v>
                </c:pt>
                <c:pt idx="17">
                  <c:v>5110.6229999999996</c:v>
                </c:pt>
                <c:pt idx="18">
                  <c:v>5168.6103333333331</c:v>
                </c:pt>
                <c:pt idx="19">
                  <c:v>5276.2853333333333</c:v>
                </c:pt>
                <c:pt idx="20">
                  <c:v>5396.9250000000002</c:v>
                </c:pt>
                <c:pt idx="21">
                  <c:v>5469.0249999999996</c:v>
                </c:pt>
                <c:pt idx="22">
                  <c:v>5502.788333333333</c:v>
                </c:pt>
                <c:pt idx="23">
                  <c:v>5517.4973333333328</c:v>
                </c:pt>
                <c:pt idx="24">
                  <c:v>5535.9503333333332</c:v>
                </c:pt>
                <c:pt idx="25">
                  <c:v>5515.9229999999998</c:v>
                </c:pt>
                <c:pt idx="26">
                  <c:v>5501.900333333333</c:v>
                </c:pt>
                <c:pt idx="27">
                  <c:v>5507.5523333333331</c:v>
                </c:pt>
                <c:pt idx="28">
                  <c:v>5559.099666666667</c:v>
                </c:pt>
                <c:pt idx="29">
                  <c:v>5619.5533333333333</c:v>
                </c:pt>
                <c:pt idx="30">
                  <c:v>5686.45</c:v>
                </c:pt>
                <c:pt idx="31">
                  <c:v>5761.1706666666669</c:v>
                </c:pt>
                <c:pt idx="32">
                  <c:v>5833.0893333333333</c:v>
                </c:pt>
                <c:pt idx="33">
                  <c:v>5864.8356666666668</c:v>
                </c:pt>
                <c:pt idx="34">
                  <c:v>5872.5749999999998</c:v>
                </c:pt>
                <c:pt idx="35">
                  <c:v>5865.6246666666666</c:v>
                </c:pt>
                <c:pt idx="36">
                  <c:v>5880.7839999999997</c:v>
                </c:pt>
                <c:pt idx="37">
                  <c:v>5856.5536666666667</c:v>
                </c:pt>
                <c:pt idx="38">
                  <c:v>5826.1880000000001</c:v>
                </c:pt>
                <c:pt idx="39">
                  <c:v>5794.9830000000002</c:v>
                </c:pt>
                <c:pt idx="40">
                  <c:v>5793.5403333333334</c:v>
                </c:pt>
                <c:pt idx="41">
                  <c:v>5787.17</c:v>
                </c:pt>
                <c:pt idx="42">
                  <c:v>5785.3113333333331</c:v>
                </c:pt>
                <c:pt idx="43">
                  <c:v>5821.3963333333331</c:v>
                </c:pt>
                <c:pt idx="44">
                  <c:v>5888.1453333333329</c:v>
                </c:pt>
                <c:pt idx="45">
                  <c:v>5901.0676666666668</c:v>
                </c:pt>
                <c:pt idx="46">
                  <c:v>5872.818666666667</c:v>
                </c:pt>
                <c:pt idx="47">
                  <c:v>5816.391333333333</c:v>
                </c:pt>
                <c:pt idx="48">
                  <c:v>5791.41</c:v>
                </c:pt>
                <c:pt idx="49">
                  <c:v>5763.9160000000002</c:v>
                </c:pt>
                <c:pt idx="50">
                  <c:v>5740.933</c:v>
                </c:pt>
                <c:pt idx="51">
                  <c:v>5732.8263333333334</c:v>
                </c:pt>
                <c:pt idx="52">
                  <c:v>5719.6819999999998</c:v>
                </c:pt>
              </c:numCache>
            </c:numRef>
          </c:val>
          <c:smooth val="0"/>
          <c:extLst>
            <c:ext xmlns:c16="http://schemas.microsoft.com/office/drawing/2014/chart" uri="{C3380CC4-5D6E-409C-BE32-E72D297353CC}">
              <c16:uniqueId val="{00000000-81ED-4E5D-9D4F-425B8A6A3F32}"/>
            </c:ext>
          </c:extLst>
        </c:ser>
        <c:ser>
          <c:idx val="2"/>
          <c:order val="1"/>
          <c:tx>
            <c:strRef>
              <c:f>Ambos!$E$5</c:f>
              <c:strCache>
                <c:ptCount val="1"/>
                <c:pt idx="0">
                  <c:v>Estimación ENE</c:v>
                </c:pt>
              </c:strCache>
            </c:strRef>
          </c:tx>
          <c:spPr>
            <a:ln w="28575" cap="rnd">
              <a:solidFill>
                <a:srgbClr val="80C0CD"/>
              </a:solidFill>
              <a:round/>
            </a:ln>
            <a:effectLst/>
          </c:spPr>
          <c:marker>
            <c:symbol val="none"/>
          </c:marker>
          <c:cat>
            <c:multiLvlStrRef>
              <c:f>Ambos!$I$116:$J$170</c:f>
              <c:multiLvlStrCache>
                <c:ptCount val="55"/>
                <c:lvl>
                  <c:pt idx="0">
                    <c:v>feb - abr</c:v>
                  </c:pt>
                  <c:pt idx="1">
                    <c:v>mar - may</c:v>
                  </c:pt>
                  <c:pt idx="2">
                    <c:v>abr - jun</c:v>
                  </c:pt>
                  <c:pt idx="3">
                    <c:v>may -jul</c:v>
                  </c:pt>
                  <c:pt idx="4">
                    <c:v>jun - ago</c:v>
                  </c:pt>
                  <c:pt idx="5">
                    <c:v>jul - sep</c:v>
                  </c:pt>
                  <c:pt idx="6">
                    <c:v>ago - oct</c:v>
                  </c:pt>
                  <c:pt idx="7">
                    <c:v>sep - nov</c:v>
                  </c:pt>
                  <c:pt idx="8">
                    <c:v>oct - dic</c:v>
                  </c:pt>
                  <c:pt idx="9">
                    <c:v>nov - ene</c:v>
                  </c:pt>
                  <c:pt idx="10">
                    <c:v>dic - feb</c:v>
                  </c:pt>
                  <c:pt idx="11">
                    <c:v>ene - mar</c:v>
                  </c:pt>
                  <c:pt idx="12">
                    <c:v>feb - abr</c:v>
                  </c:pt>
                  <c:pt idx="13">
                    <c:v>mar - may</c:v>
                  </c:pt>
                  <c:pt idx="14">
                    <c:v>abr - jun</c:v>
                  </c:pt>
                  <c:pt idx="15">
                    <c:v>may -jul</c:v>
                  </c:pt>
                  <c:pt idx="16">
                    <c:v>jun - ago</c:v>
                  </c:pt>
                  <c:pt idx="17">
                    <c:v>jul - sep</c:v>
                  </c:pt>
                  <c:pt idx="18">
                    <c:v>ago - oct</c:v>
                  </c:pt>
                  <c:pt idx="19">
                    <c:v>sep - nov</c:v>
                  </c:pt>
                  <c:pt idx="20">
                    <c:v>oct - dic</c:v>
                  </c:pt>
                  <c:pt idx="21">
                    <c:v>nov - ene</c:v>
                  </c:pt>
                  <c:pt idx="22">
                    <c:v>dic - feb</c:v>
                  </c:pt>
                  <c:pt idx="23">
                    <c:v>ene - mar</c:v>
                  </c:pt>
                  <c:pt idx="24">
                    <c:v>feb - abr</c:v>
                  </c:pt>
                  <c:pt idx="25">
                    <c:v>mar - may</c:v>
                  </c:pt>
                  <c:pt idx="26">
                    <c:v>abr - jun</c:v>
                  </c:pt>
                  <c:pt idx="27">
                    <c:v>may -jul</c:v>
                  </c:pt>
                  <c:pt idx="28">
                    <c:v>jun - ago</c:v>
                  </c:pt>
                  <c:pt idx="29">
                    <c:v>jul - sep</c:v>
                  </c:pt>
                  <c:pt idx="30">
                    <c:v>ago - oct</c:v>
                  </c:pt>
                  <c:pt idx="31">
                    <c:v>sep - nov</c:v>
                  </c:pt>
                  <c:pt idx="32">
                    <c:v>oct - dic</c:v>
                  </c:pt>
                  <c:pt idx="33">
                    <c:v>nov - ene</c:v>
                  </c:pt>
                  <c:pt idx="34">
                    <c:v>dic - feb</c:v>
                  </c:pt>
                  <c:pt idx="35">
                    <c:v>ene - mar</c:v>
                  </c:pt>
                  <c:pt idx="36">
                    <c:v>feb - abr</c:v>
                  </c:pt>
                  <c:pt idx="37">
                    <c:v>mar - may</c:v>
                  </c:pt>
                  <c:pt idx="38">
                    <c:v>abr - jun</c:v>
                  </c:pt>
                  <c:pt idx="39">
                    <c:v>may -jul</c:v>
                  </c:pt>
                  <c:pt idx="40">
                    <c:v>jun - ago</c:v>
                  </c:pt>
                  <c:pt idx="41">
                    <c:v>jul - sep</c:v>
                  </c:pt>
                  <c:pt idx="42">
                    <c:v>ago - oct</c:v>
                  </c:pt>
                  <c:pt idx="43">
                    <c:v>sep - nov</c:v>
                  </c:pt>
                  <c:pt idx="44">
                    <c:v>oct - dic</c:v>
                  </c:pt>
                  <c:pt idx="45">
                    <c:v>nov - ene</c:v>
                  </c:pt>
                  <c:pt idx="46">
                    <c:v>dic - feb</c:v>
                  </c:pt>
                  <c:pt idx="47">
                    <c:v>ene - mar</c:v>
                  </c:pt>
                  <c:pt idx="48">
                    <c:v>feb - abr</c:v>
                  </c:pt>
                  <c:pt idx="49">
                    <c:v>mar - may</c:v>
                  </c:pt>
                  <c:pt idx="50">
                    <c:v>abr - jun</c:v>
                  </c:pt>
                  <c:pt idx="51">
                    <c:v>may -jul</c:v>
                  </c:pt>
                  <c:pt idx="52">
                    <c:v>jun - ago</c:v>
                  </c:pt>
                  <c:pt idx="53">
                    <c:v>jul - sep</c:v>
                  </c:pt>
                  <c:pt idx="54">
                    <c:v>ago - oct</c:v>
                  </c:pt>
                </c:lvl>
                <c:lvl>
                  <c:pt idx="0">
                    <c:v>2019</c:v>
                  </c:pt>
                  <c:pt idx="10">
                    <c:v>2020</c:v>
                  </c:pt>
                  <c:pt idx="22">
                    <c:v>2021</c:v>
                  </c:pt>
                  <c:pt idx="34">
                    <c:v>2022</c:v>
                  </c:pt>
                  <c:pt idx="46">
                    <c:v>2023</c:v>
                  </c:pt>
                </c:lvl>
              </c:multiLvlStrCache>
            </c:multiLvlStrRef>
          </c:cat>
          <c:val>
            <c:numRef>
              <c:f>Ambos!$E$116:$E$170</c:f>
              <c:numCache>
                <c:formatCode>#,##0</c:formatCode>
                <c:ptCount val="55"/>
                <c:pt idx="0">
                  <c:v>5443.8903413719299</c:v>
                </c:pt>
                <c:pt idx="1">
                  <c:v>5463.5561334229906</c:v>
                </c:pt>
                <c:pt idx="2">
                  <c:v>5438.4130126597802</c:v>
                </c:pt>
                <c:pt idx="3">
                  <c:v>5449.7750098941797</c:v>
                </c:pt>
                <c:pt idx="4">
                  <c:v>5448.9748725217005</c:v>
                </c:pt>
                <c:pt idx="5">
                  <c:v>5509.5083431399098</c:v>
                </c:pt>
                <c:pt idx="6">
                  <c:v>5489.4803978584996</c:v>
                </c:pt>
                <c:pt idx="7">
                  <c:v>5476.36406371883</c:v>
                </c:pt>
                <c:pt idx="8">
                  <c:v>5498.5468471918493</c:v>
                </c:pt>
                <c:pt idx="9">
                  <c:v>5539.0171596181799</c:v>
                </c:pt>
                <c:pt idx="10">
                  <c:v>5564.9674570499501</c:v>
                </c:pt>
                <c:pt idx="11">
                  <c:v>5510.3118541948006</c:v>
                </c:pt>
                <c:pt idx="12">
                  <c:v>5322.2541795980296</c:v>
                </c:pt>
                <c:pt idx="13">
                  <c:v>5017.3983641654595</c:v>
                </c:pt>
                <c:pt idx="14">
                  <c:v>4900.4283208680499</c:v>
                </c:pt>
                <c:pt idx="15">
                  <c:v>4823.3739085020798</c:v>
                </c:pt>
                <c:pt idx="16">
                  <c:v>4880.5544404885895</c:v>
                </c:pt>
                <c:pt idx="17">
                  <c:v>4933.1200882512094</c:v>
                </c:pt>
                <c:pt idx="18">
                  <c:v>5006.9085840012094</c:v>
                </c:pt>
                <c:pt idx="19">
                  <c:v>5078.3630577464601</c:v>
                </c:pt>
                <c:pt idx="20">
                  <c:v>5141.5290040686996</c:v>
                </c:pt>
                <c:pt idx="21">
                  <c:v>5192.5743887452199</c:v>
                </c:pt>
                <c:pt idx="22">
                  <c:v>5252.9752834931396</c:v>
                </c:pt>
                <c:pt idx="23">
                  <c:v>5242.4897671417002</c:v>
                </c:pt>
                <c:pt idx="24">
                  <c:v>5257.0987056020795</c:v>
                </c:pt>
                <c:pt idx="25">
                  <c:v>5217.1292665321298</c:v>
                </c:pt>
                <c:pt idx="26">
                  <c:v>5214.4997920707501</c:v>
                </c:pt>
                <c:pt idx="27">
                  <c:v>5228.4830921758003</c:v>
                </c:pt>
                <c:pt idx="28">
                  <c:v>5274.91739294116</c:v>
                </c:pt>
                <c:pt idx="29">
                  <c:v>5286.6715931678009</c:v>
                </c:pt>
                <c:pt idx="30">
                  <c:v>5322.9814880120002</c:v>
                </c:pt>
                <c:pt idx="31">
                  <c:v>5365.7836152110294</c:v>
                </c:pt>
                <c:pt idx="32">
                  <c:v>5456.7245302886204</c:v>
                </c:pt>
                <c:pt idx="33">
                  <c:v>5514.8201150515197</c:v>
                </c:pt>
                <c:pt idx="34">
                  <c:v>5598.6011480848056</c:v>
                </c:pt>
                <c:pt idx="35">
                  <c:v>5636.8860000000004</c:v>
                </c:pt>
                <c:pt idx="36">
                  <c:v>5656.6082012516472</c:v>
                </c:pt>
                <c:pt idx="37">
                  <c:v>5614.8624293286075</c:v>
                </c:pt>
                <c:pt idx="38">
                  <c:v>5629.9977351935258</c:v>
                </c:pt>
                <c:pt idx="39">
                  <c:v>5674.6582668927531</c:v>
                </c:pt>
                <c:pt idx="40">
                  <c:v>5672.9511064617473</c:v>
                </c:pt>
                <c:pt idx="41">
                  <c:v>5609.6450148201766</c:v>
                </c:pt>
                <c:pt idx="42">
                  <c:v>5589.5854474684193</c:v>
                </c:pt>
                <c:pt idx="43">
                  <c:v>5650.8754660921959</c:v>
                </c:pt>
                <c:pt idx="44">
                  <c:v>5713.0181385292199</c:v>
                </c:pt>
                <c:pt idx="45">
                  <c:v>5756.0223802554156</c:v>
                </c:pt>
                <c:pt idx="46">
                  <c:v>5756.9971519929095</c:v>
                </c:pt>
                <c:pt idx="47">
                  <c:v>5734.8922828987343</c:v>
                </c:pt>
                <c:pt idx="48">
                  <c:v>5713.201320848294</c:v>
                </c:pt>
                <c:pt idx="49">
                  <c:v>5739.2776549769251</c:v>
                </c:pt>
                <c:pt idx="50">
                  <c:v>5730.4769999999999</c:v>
                </c:pt>
                <c:pt idx="51">
                  <c:v>5753.1720452240506</c:v>
                </c:pt>
                <c:pt idx="52">
                  <c:v>5729.4554045779987</c:v>
                </c:pt>
                <c:pt idx="53">
                  <c:v>5749.3384841997449</c:v>
                </c:pt>
                <c:pt idx="54">
                  <c:v>5739.6922872771456</c:v>
                </c:pt>
              </c:numCache>
            </c:numRef>
          </c:val>
          <c:smooth val="0"/>
          <c:extLst>
            <c:ext xmlns:c16="http://schemas.microsoft.com/office/drawing/2014/chart" uri="{C3380CC4-5D6E-409C-BE32-E72D297353CC}">
              <c16:uniqueId val="{00000001-81ED-4E5D-9D4F-425B8A6A3F32}"/>
            </c:ext>
          </c:extLst>
        </c:ser>
        <c:dLbls>
          <c:showLegendKey val="0"/>
          <c:showVal val="0"/>
          <c:showCatName val="0"/>
          <c:showSerName val="0"/>
          <c:showPercent val="0"/>
          <c:showBubbleSize val="0"/>
        </c:dLbls>
        <c:smooth val="0"/>
        <c:axId val="521587855"/>
        <c:axId val="521622383"/>
      </c:lineChart>
      <c:catAx>
        <c:axId val="521587855"/>
        <c:scaling>
          <c:orientation val="minMax"/>
        </c:scaling>
        <c:delete val="0"/>
        <c:axPos val="b"/>
        <c:numFmt formatCode="mmm\-yy" sourceLinked="0"/>
        <c:majorTickMark val="none"/>
        <c:minorTickMark val="none"/>
        <c:tickLblPos val="low"/>
        <c:spPr>
          <a:noFill/>
          <a:ln w="9525" cap="flat" cmpd="sng" algn="ctr">
            <a:solidFill>
              <a:srgbClr val="000000"/>
            </a:solidFill>
            <a:round/>
          </a:ln>
          <a:effectLst/>
        </c:spPr>
        <c:txPr>
          <a:bodyPr rot="-5400000" spcFirstLastPara="1" vertOverflow="ellipsis" wrap="square" anchor="ctr" anchorCtr="1"/>
          <a:lstStyle/>
          <a:p>
            <a:pPr>
              <a:defRPr sz="1200" b="0" i="0" u="none" strike="noStrike" kern="1200" baseline="0">
                <a:solidFill>
                  <a:srgbClr val="000000"/>
                </a:solidFill>
                <a:latin typeface="gobCL" pitchFamily="50" charset="0"/>
                <a:ea typeface="Helvetica"/>
                <a:cs typeface="Helvetica"/>
              </a:defRPr>
            </a:pPr>
            <a:endParaRPr lang="es-CL"/>
          </a:p>
        </c:txPr>
        <c:crossAx val="521622383"/>
        <c:crosses val="autoZero"/>
        <c:auto val="1"/>
        <c:lblAlgn val="ctr"/>
        <c:lblOffset val="100"/>
        <c:noMultiLvlLbl val="0"/>
      </c:catAx>
      <c:valAx>
        <c:axId val="521622383"/>
        <c:scaling>
          <c:orientation val="minMax"/>
          <c:min val="4800"/>
        </c:scaling>
        <c:delete val="0"/>
        <c:axPos val="l"/>
        <c:majorGridlines>
          <c:spPr>
            <a:ln w="9525" cap="flat" cmpd="sng" algn="ctr">
              <a:solidFill>
                <a:sysClr val="window" lastClr="FFFFFF">
                  <a:lumMod val="65000"/>
                </a:sysClr>
              </a:solidFill>
              <a:prstDash val="solid"/>
              <a:round/>
              <a:headEnd type="none" w="med" len="med"/>
              <a:tailEnd type="none" w="med" len="me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rgbClr val="000000"/>
                </a:solidFill>
                <a:latin typeface="gobCL" pitchFamily="50" charset="0"/>
                <a:ea typeface="Helvetica"/>
                <a:cs typeface="Helvetica"/>
              </a:defRPr>
            </a:pPr>
            <a:endParaRPr lang="es-CL"/>
          </a:p>
        </c:txPr>
        <c:crossAx val="521587855"/>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rgbClr val="000000"/>
              </a:solidFill>
              <a:latin typeface="gobCL" pitchFamily="50" charset="0"/>
              <a:ea typeface="Helvetica"/>
              <a:cs typeface="Helvetica"/>
            </a:defRPr>
          </a:pPr>
          <a:endParaRPr lang="es-C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200">
          <a:solidFill>
            <a:srgbClr val="000000"/>
          </a:solidFill>
          <a:latin typeface="gobCL" pitchFamily="50" charset="0"/>
          <a:ea typeface="Helvetica"/>
          <a:cs typeface="Helvetica"/>
        </a:defRPr>
      </a:pPr>
      <a:endParaRPr lang="es-CL"/>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rgbClr val="000000"/>
                </a:solidFill>
                <a:latin typeface="GobCL"/>
                <a:ea typeface="Calibri"/>
                <a:cs typeface="Calibri"/>
              </a:defRPr>
            </a:pPr>
            <a:r>
              <a:rPr lang="es-CL" b="1"/>
              <a:t>Imacec no minero y empleo asalariado</a:t>
            </a:r>
            <a:r>
              <a:rPr lang="es-CL"/>
              <a:t>
</a:t>
            </a:r>
            <a:r>
              <a:rPr lang="es-CL" sz="1200"/>
              <a:t>(variación anual, porcentaje)</a:t>
            </a:r>
            <a:endParaRPr lang="es-CL"/>
          </a:p>
        </c:rich>
      </c:tx>
      <c:overlay val="0"/>
      <c:spPr>
        <a:noFill/>
        <a:ln>
          <a:noFill/>
        </a:ln>
        <a:effectLst/>
      </c:spPr>
      <c:txPr>
        <a:bodyPr rot="0" spcFirstLastPara="1" vertOverflow="ellipsis" vert="horz" wrap="square" anchor="ctr" anchorCtr="1"/>
        <a:lstStyle/>
        <a:p>
          <a:pPr>
            <a:defRPr sz="1440" b="0" i="0" u="none" strike="noStrike" kern="1200" spc="0" baseline="0">
              <a:solidFill>
                <a:srgbClr val="000000"/>
              </a:solidFill>
              <a:latin typeface="GobCL"/>
              <a:ea typeface="Calibri"/>
              <a:cs typeface="Calibri"/>
            </a:defRPr>
          </a:pPr>
          <a:endParaRPr lang="es-CL"/>
        </a:p>
      </c:txPr>
    </c:title>
    <c:autoTitleDeleted val="0"/>
    <c:plotArea>
      <c:layout/>
      <c:lineChart>
        <c:grouping val="standard"/>
        <c:varyColors val="0"/>
        <c:ser>
          <c:idx val="0"/>
          <c:order val="0"/>
          <c:tx>
            <c:strRef>
              <c:f>Cuadro!$B$3</c:f>
              <c:strCache>
                <c:ptCount val="1"/>
                <c:pt idx="0">
                  <c:v>Imacec no minero</c:v>
                </c:pt>
              </c:strCache>
            </c:strRef>
          </c:tx>
          <c:spPr>
            <a:ln w="28575" cap="rnd">
              <a:solidFill>
                <a:srgbClr val="1F4E79"/>
              </a:solidFill>
              <a:round/>
            </a:ln>
            <a:effectLst/>
          </c:spPr>
          <c:marker>
            <c:symbol val="none"/>
          </c:marker>
          <c:cat>
            <c:numRef>
              <c:f>Cuadro!$A$76:$A$133</c:f>
              <c:numCache>
                <c:formatCode>mmm\.yyyy</c:formatCode>
                <c:ptCount val="58"/>
                <c:pt idx="0">
                  <c:v>43466</c:v>
                </c:pt>
                <c:pt idx="1">
                  <c:v>43497</c:v>
                </c:pt>
                <c:pt idx="2">
                  <c:v>43525</c:v>
                </c:pt>
                <c:pt idx="3">
                  <c:v>43556</c:v>
                </c:pt>
                <c:pt idx="4">
                  <c:v>43586</c:v>
                </c:pt>
                <c:pt idx="5">
                  <c:v>43617</c:v>
                </c:pt>
                <c:pt idx="6">
                  <c:v>43647</c:v>
                </c:pt>
                <c:pt idx="7">
                  <c:v>43678</c:v>
                </c:pt>
                <c:pt idx="8">
                  <c:v>43709</c:v>
                </c:pt>
                <c:pt idx="9">
                  <c:v>43739</c:v>
                </c:pt>
                <c:pt idx="10">
                  <c:v>43770</c:v>
                </c:pt>
                <c:pt idx="11">
                  <c:v>43800</c:v>
                </c:pt>
                <c:pt idx="12">
                  <c:v>43831</c:v>
                </c:pt>
                <c:pt idx="13">
                  <c:v>43862</c:v>
                </c:pt>
                <c:pt idx="14">
                  <c:v>43891</c:v>
                </c:pt>
                <c:pt idx="15">
                  <c:v>43922</c:v>
                </c:pt>
                <c:pt idx="16">
                  <c:v>43952</c:v>
                </c:pt>
                <c:pt idx="17">
                  <c:v>43983</c:v>
                </c:pt>
                <c:pt idx="18">
                  <c:v>44013</c:v>
                </c:pt>
                <c:pt idx="19">
                  <c:v>44044</c:v>
                </c:pt>
                <c:pt idx="20">
                  <c:v>44075</c:v>
                </c:pt>
                <c:pt idx="21">
                  <c:v>44105</c:v>
                </c:pt>
                <c:pt idx="22">
                  <c:v>44136</c:v>
                </c:pt>
                <c:pt idx="23">
                  <c:v>44166</c:v>
                </c:pt>
                <c:pt idx="24">
                  <c:v>44197</c:v>
                </c:pt>
                <c:pt idx="25">
                  <c:v>44228</c:v>
                </c:pt>
                <c:pt idx="26">
                  <c:v>44256</c:v>
                </c:pt>
                <c:pt idx="27">
                  <c:v>44287</c:v>
                </c:pt>
                <c:pt idx="28">
                  <c:v>44317</c:v>
                </c:pt>
                <c:pt idx="29">
                  <c:v>44348</c:v>
                </c:pt>
                <c:pt idx="30">
                  <c:v>44378</c:v>
                </c:pt>
                <c:pt idx="31">
                  <c:v>44409</c:v>
                </c:pt>
                <c:pt idx="32">
                  <c:v>44440</c:v>
                </c:pt>
                <c:pt idx="33">
                  <c:v>44470</c:v>
                </c:pt>
                <c:pt idx="34">
                  <c:v>44501</c:v>
                </c:pt>
                <c:pt idx="35">
                  <c:v>44531</c:v>
                </c:pt>
                <c:pt idx="36">
                  <c:v>44562</c:v>
                </c:pt>
                <c:pt idx="37">
                  <c:v>44593</c:v>
                </c:pt>
                <c:pt idx="38">
                  <c:v>44621</c:v>
                </c:pt>
                <c:pt idx="39">
                  <c:v>44652</c:v>
                </c:pt>
                <c:pt idx="40">
                  <c:v>44682</c:v>
                </c:pt>
                <c:pt idx="41">
                  <c:v>44713</c:v>
                </c:pt>
                <c:pt idx="42">
                  <c:v>44743</c:v>
                </c:pt>
                <c:pt idx="43">
                  <c:v>44774</c:v>
                </c:pt>
                <c:pt idx="44">
                  <c:v>44805</c:v>
                </c:pt>
                <c:pt idx="45">
                  <c:v>44835</c:v>
                </c:pt>
                <c:pt idx="46">
                  <c:v>44866</c:v>
                </c:pt>
                <c:pt idx="47">
                  <c:v>44896</c:v>
                </c:pt>
                <c:pt idx="48">
                  <c:v>44927</c:v>
                </c:pt>
                <c:pt idx="49">
                  <c:v>44958</c:v>
                </c:pt>
                <c:pt idx="50">
                  <c:v>44986</c:v>
                </c:pt>
                <c:pt idx="51">
                  <c:v>45017</c:v>
                </c:pt>
                <c:pt idx="52">
                  <c:v>45047</c:v>
                </c:pt>
                <c:pt idx="53">
                  <c:v>45078</c:v>
                </c:pt>
                <c:pt idx="54">
                  <c:v>45108</c:v>
                </c:pt>
                <c:pt idx="55">
                  <c:v>45139</c:v>
                </c:pt>
                <c:pt idx="56">
                  <c:v>45170</c:v>
                </c:pt>
                <c:pt idx="57">
                  <c:v>45200</c:v>
                </c:pt>
              </c:numCache>
            </c:numRef>
          </c:cat>
          <c:val>
            <c:numRef>
              <c:f>Cuadro!$B$76:$B$133</c:f>
              <c:numCache>
                <c:formatCode>#,##0.00</c:formatCode>
                <c:ptCount val="58"/>
                <c:pt idx="0">
                  <c:v>2.7299722824075201</c:v>
                </c:pt>
                <c:pt idx="1">
                  <c:v>1.81765658817745</c:v>
                </c:pt>
                <c:pt idx="2">
                  <c:v>1.9452807326654</c:v>
                </c:pt>
                <c:pt idx="3">
                  <c:v>2.1303656119685801</c:v>
                </c:pt>
                <c:pt idx="4">
                  <c:v>2.46508686558191</c:v>
                </c:pt>
                <c:pt idx="5">
                  <c:v>1.1965834323734801</c:v>
                </c:pt>
                <c:pt idx="6">
                  <c:v>3.5712862931074101</c:v>
                </c:pt>
                <c:pt idx="7">
                  <c:v>3.30610760893213</c:v>
                </c:pt>
                <c:pt idx="8">
                  <c:v>3.3369249821895601</c:v>
                </c:pt>
                <c:pt idx="9">
                  <c:v>-4.6460606821579704</c:v>
                </c:pt>
                <c:pt idx="10">
                  <c:v>-4.3348659416487001</c:v>
                </c:pt>
                <c:pt idx="11">
                  <c:v>1.3197003739013</c:v>
                </c:pt>
                <c:pt idx="12">
                  <c:v>1.44945156083922</c:v>
                </c:pt>
                <c:pt idx="13">
                  <c:v>2.5294235227811601</c:v>
                </c:pt>
                <c:pt idx="14">
                  <c:v>-4.4109737218149103</c:v>
                </c:pt>
                <c:pt idx="15">
                  <c:v>-15.8339992193344</c:v>
                </c:pt>
                <c:pt idx="16">
                  <c:v>-17.3520663589408</c:v>
                </c:pt>
                <c:pt idx="17">
                  <c:v>-15.596428292633</c:v>
                </c:pt>
                <c:pt idx="18">
                  <c:v>-13.2789008868472</c:v>
                </c:pt>
                <c:pt idx="19">
                  <c:v>-12.2754559785326</c:v>
                </c:pt>
                <c:pt idx="20">
                  <c:v>-5.9763563073077801</c:v>
                </c:pt>
                <c:pt idx="21">
                  <c:v>-1.90602950021678</c:v>
                </c:pt>
                <c:pt idx="22">
                  <c:v>0.87463569771999405</c:v>
                </c:pt>
                <c:pt idx="23">
                  <c:v>1.0986628021648599</c:v>
                </c:pt>
                <c:pt idx="24">
                  <c:v>-4.03921306027567</c:v>
                </c:pt>
                <c:pt idx="25">
                  <c:v>-2.0135886898499198</c:v>
                </c:pt>
                <c:pt idx="26">
                  <c:v>7.3780316189791604</c:v>
                </c:pt>
                <c:pt idx="27">
                  <c:v>16.9459321139833</c:v>
                </c:pt>
                <c:pt idx="28">
                  <c:v>21.920786184680999</c:v>
                </c:pt>
                <c:pt idx="29">
                  <c:v>23.75350914329</c:v>
                </c:pt>
                <c:pt idx="30">
                  <c:v>20.756766669043898</c:v>
                </c:pt>
                <c:pt idx="31">
                  <c:v>21.433622186215999</c:v>
                </c:pt>
                <c:pt idx="32">
                  <c:v>17.504805079253099</c:v>
                </c:pt>
                <c:pt idx="33">
                  <c:v>16.308152311997102</c:v>
                </c:pt>
                <c:pt idx="34">
                  <c:v>16.6270838755032</c:v>
                </c:pt>
                <c:pt idx="35">
                  <c:v>11.005340623173399</c:v>
                </c:pt>
                <c:pt idx="36">
                  <c:v>11.2566118355277</c:v>
                </c:pt>
                <c:pt idx="37">
                  <c:v>9.2573236971970303</c:v>
                </c:pt>
                <c:pt idx="38">
                  <c:v>8.4332463617872193</c:v>
                </c:pt>
                <c:pt idx="39">
                  <c:v>8.7695845351138502</c:v>
                </c:pt>
                <c:pt idx="40">
                  <c:v>7.2141266192092202</c:v>
                </c:pt>
                <c:pt idx="41">
                  <c:v>4.5793752320413503</c:v>
                </c:pt>
                <c:pt idx="42">
                  <c:v>1.57571524858993</c:v>
                </c:pt>
                <c:pt idx="43">
                  <c:v>2.1101381744504302</c:v>
                </c:pt>
                <c:pt idx="44">
                  <c:v>-0.37141034964410802</c:v>
                </c:pt>
                <c:pt idx="45">
                  <c:v>-1.9986026484892601</c:v>
                </c:pt>
                <c:pt idx="46">
                  <c:v>-2.9440752351408599</c:v>
                </c:pt>
                <c:pt idx="47">
                  <c:v>-2.1554339915586098</c:v>
                </c:pt>
                <c:pt idx="48">
                  <c:v>-0.48311326051435599</c:v>
                </c:pt>
                <c:pt idx="49">
                  <c:v>-0.62644008032651799</c:v>
                </c:pt>
                <c:pt idx="50">
                  <c:v>-0.96809123613354997</c:v>
                </c:pt>
                <c:pt idx="51">
                  <c:v>-1.17494319390546</c:v>
                </c:pt>
                <c:pt idx="52">
                  <c:v>-0.36078968159505298</c:v>
                </c:pt>
                <c:pt idx="53">
                  <c:v>-0.86416690152805198</c:v>
                </c:pt>
                <c:pt idx="54">
                  <c:v>1.6317411879542401</c:v>
                </c:pt>
                <c:pt idx="55">
                  <c:v>-0.97127353849707498</c:v>
                </c:pt>
                <c:pt idx="56">
                  <c:v>-0.881062712408343</c:v>
                </c:pt>
                <c:pt idx="57">
                  <c:v>1.0261923830547901</c:v>
                </c:pt>
              </c:numCache>
            </c:numRef>
          </c:val>
          <c:smooth val="0"/>
          <c:extLst>
            <c:ext xmlns:c16="http://schemas.microsoft.com/office/drawing/2014/chart" uri="{C3380CC4-5D6E-409C-BE32-E72D297353CC}">
              <c16:uniqueId val="{00000000-AA79-4850-B2AB-D8CF0F56CBF7}"/>
            </c:ext>
          </c:extLst>
        </c:ser>
        <c:ser>
          <c:idx val="1"/>
          <c:order val="1"/>
          <c:tx>
            <c:strRef>
              <c:f>Cuadro!$C$3</c:f>
              <c:strCache>
                <c:ptCount val="1"/>
                <c:pt idx="0">
                  <c:v>Empleo asalariado</c:v>
                </c:pt>
              </c:strCache>
            </c:strRef>
          </c:tx>
          <c:spPr>
            <a:ln w="28575" cap="rnd">
              <a:solidFill>
                <a:srgbClr val="80C0CD"/>
              </a:solidFill>
              <a:round/>
            </a:ln>
            <a:effectLst/>
          </c:spPr>
          <c:marker>
            <c:symbol val="none"/>
          </c:marker>
          <c:cat>
            <c:numRef>
              <c:f>Cuadro!$A$76:$A$133</c:f>
              <c:numCache>
                <c:formatCode>mmm\.yyyy</c:formatCode>
                <c:ptCount val="58"/>
                <c:pt idx="0">
                  <c:v>43466</c:v>
                </c:pt>
                <c:pt idx="1">
                  <c:v>43497</c:v>
                </c:pt>
                <c:pt idx="2">
                  <c:v>43525</c:v>
                </c:pt>
                <c:pt idx="3">
                  <c:v>43556</c:v>
                </c:pt>
                <c:pt idx="4">
                  <c:v>43586</c:v>
                </c:pt>
                <c:pt idx="5">
                  <c:v>43617</c:v>
                </c:pt>
                <c:pt idx="6">
                  <c:v>43647</c:v>
                </c:pt>
                <c:pt idx="7">
                  <c:v>43678</c:v>
                </c:pt>
                <c:pt idx="8">
                  <c:v>43709</c:v>
                </c:pt>
                <c:pt idx="9">
                  <c:v>43739</c:v>
                </c:pt>
                <c:pt idx="10">
                  <c:v>43770</c:v>
                </c:pt>
                <c:pt idx="11">
                  <c:v>43800</c:v>
                </c:pt>
                <c:pt idx="12">
                  <c:v>43831</c:v>
                </c:pt>
                <c:pt idx="13">
                  <c:v>43862</c:v>
                </c:pt>
                <c:pt idx="14">
                  <c:v>43891</c:v>
                </c:pt>
                <c:pt idx="15">
                  <c:v>43922</c:v>
                </c:pt>
                <c:pt idx="16">
                  <c:v>43952</c:v>
                </c:pt>
                <c:pt idx="17">
                  <c:v>43983</c:v>
                </c:pt>
                <c:pt idx="18">
                  <c:v>44013</c:v>
                </c:pt>
                <c:pt idx="19">
                  <c:v>44044</c:v>
                </c:pt>
                <c:pt idx="20">
                  <c:v>44075</c:v>
                </c:pt>
                <c:pt idx="21">
                  <c:v>44105</c:v>
                </c:pt>
                <c:pt idx="22">
                  <c:v>44136</c:v>
                </c:pt>
                <c:pt idx="23">
                  <c:v>44166</c:v>
                </c:pt>
                <c:pt idx="24">
                  <c:v>44197</c:v>
                </c:pt>
                <c:pt idx="25">
                  <c:v>44228</c:v>
                </c:pt>
                <c:pt idx="26">
                  <c:v>44256</c:v>
                </c:pt>
                <c:pt idx="27">
                  <c:v>44287</c:v>
                </c:pt>
                <c:pt idx="28">
                  <c:v>44317</c:v>
                </c:pt>
                <c:pt idx="29">
                  <c:v>44348</c:v>
                </c:pt>
                <c:pt idx="30">
                  <c:v>44378</c:v>
                </c:pt>
                <c:pt idx="31">
                  <c:v>44409</c:v>
                </c:pt>
                <c:pt idx="32">
                  <c:v>44440</c:v>
                </c:pt>
                <c:pt idx="33">
                  <c:v>44470</c:v>
                </c:pt>
                <c:pt idx="34">
                  <c:v>44501</c:v>
                </c:pt>
                <c:pt idx="35">
                  <c:v>44531</c:v>
                </c:pt>
                <c:pt idx="36">
                  <c:v>44562</c:v>
                </c:pt>
                <c:pt idx="37">
                  <c:v>44593</c:v>
                </c:pt>
                <c:pt idx="38">
                  <c:v>44621</c:v>
                </c:pt>
                <c:pt idx="39">
                  <c:v>44652</c:v>
                </c:pt>
                <c:pt idx="40">
                  <c:v>44682</c:v>
                </c:pt>
                <c:pt idx="41">
                  <c:v>44713</c:v>
                </c:pt>
                <c:pt idx="42">
                  <c:v>44743</c:v>
                </c:pt>
                <c:pt idx="43">
                  <c:v>44774</c:v>
                </c:pt>
                <c:pt idx="44">
                  <c:v>44805</c:v>
                </c:pt>
                <c:pt idx="45">
                  <c:v>44835</c:v>
                </c:pt>
                <c:pt idx="46">
                  <c:v>44866</c:v>
                </c:pt>
                <c:pt idx="47">
                  <c:v>44896</c:v>
                </c:pt>
                <c:pt idx="48">
                  <c:v>44927</c:v>
                </c:pt>
                <c:pt idx="49">
                  <c:v>44958</c:v>
                </c:pt>
                <c:pt idx="50">
                  <c:v>44986</c:v>
                </c:pt>
                <c:pt idx="51">
                  <c:v>45017</c:v>
                </c:pt>
                <c:pt idx="52">
                  <c:v>45047</c:v>
                </c:pt>
                <c:pt idx="53">
                  <c:v>45078</c:v>
                </c:pt>
                <c:pt idx="54">
                  <c:v>45108</c:v>
                </c:pt>
                <c:pt idx="55">
                  <c:v>45139</c:v>
                </c:pt>
                <c:pt idx="56">
                  <c:v>45170</c:v>
                </c:pt>
                <c:pt idx="57">
                  <c:v>45200</c:v>
                </c:pt>
              </c:numCache>
            </c:numRef>
          </c:cat>
          <c:val>
            <c:numRef>
              <c:f>Cuadro!$C$76:$C$133</c:f>
              <c:numCache>
                <c:formatCode>#,##0.00</c:formatCode>
                <c:ptCount val="58"/>
                <c:pt idx="0">
                  <c:v>2.9768158388960408</c:v>
                </c:pt>
                <c:pt idx="1">
                  <c:v>2.8874860420007975</c:v>
                </c:pt>
                <c:pt idx="2">
                  <c:v>2.7422692803974469</c:v>
                </c:pt>
                <c:pt idx="3">
                  <c:v>2.1323822339015752</c:v>
                </c:pt>
                <c:pt idx="4">
                  <c:v>2.3998197408043431</c:v>
                </c:pt>
                <c:pt idx="5">
                  <c:v>1.5229594572938376</c:v>
                </c:pt>
                <c:pt idx="6">
                  <c:v>1.8797947891849631</c:v>
                </c:pt>
                <c:pt idx="7">
                  <c:v>1.9893044749869526</c:v>
                </c:pt>
                <c:pt idx="8">
                  <c:v>3.5764447688722667</c:v>
                </c:pt>
                <c:pt idx="9">
                  <c:v>3.641744189297369</c:v>
                </c:pt>
                <c:pt idx="10">
                  <c:v>3.5930658243792823</c:v>
                </c:pt>
                <c:pt idx="11">
                  <c:v>2.1152086374353063</c:v>
                </c:pt>
                <c:pt idx="12">
                  <c:v>1.8457786361253614</c:v>
                </c:pt>
                <c:pt idx="13">
                  <c:v>1.9488830889577313</c:v>
                </c:pt>
                <c:pt idx="14">
                  <c:v>1.2027532065052693</c:v>
                </c:pt>
                <c:pt idx="15">
                  <c:v>-2.2343609835323464</c:v>
                </c:pt>
                <c:pt idx="16">
                  <c:v>-8.166069101554319</c:v>
                </c:pt>
                <c:pt idx="17">
                  <c:v>-9.8923103217682282</c:v>
                </c:pt>
                <c:pt idx="18">
                  <c:v>-11.494072695750857</c:v>
                </c:pt>
                <c:pt idx="19">
                  <c:v>-10.431694866121754</c:v>
                </c:pt>
                <c:pt idx="20">
                  <c:v>-10.461700373071992</c:v>
                </c:pt>
                <c:pt idx="21">
                  <c:v>-8.7908468358051888</c:v>
                </c:pt>
                <c:pt idx="22">
                  <c:v>-7.2676140837521386</c:v>
                </c:pt>
                <c:pt idx="23">
                  <c:v>-6.4929490108005865</c:v>
                </c:pt>
                <c:pt idx="24">
                  <c:v>-6.2545892328819015</c:v>
                </c:pt>
                <c:pt idx="25">
                  <c:v>-5.6063611506220852</c:v>
                </c:pt>
                <c:pt idx="26">
                  <c:v>-4.8603798503566997</c:v>
                </c:pt>
                <c:pt idx="27">
                  <c:v>-1.2242082357831086</c:v>
                </c:pt>
                <c:pt idx="28">
                  <c:v>3.9807662830434021</c:v>
                </c:pt>
                <c:pt idx="29">
                  <c:v>6.4090616296794689</c:v>
                </c:pt>
                <c:pt idx="30">
                  <c:v>8.3988757943820538</c:v>
                </c:pt>
                <c:pt idx="31">
                  <c:v>8.08029000109034</c:v>
                </c:pt>
                <c:pt idx="32">
                  <c:v>7.1668943506689509</c:v>
                </c:pt>
                <c:pt idx="33">
                  <c:v>6.3127356672888268</c:v>
                </c:pt>
                <c:pt idx="34">
                  <c:v>5.6597087328394746</c:v>
                </c:pt>
                <c:pt idx="35">
                  <c:v>6.1303850658139591</c:v>
                </c:pt>
                <c:pt idx="36">
                  <c:v>6.2058952300184655</c:v>
                </c:pt>
                <c:pt idx="37">
                  <c:v>6.5796209945581552</c:v>
                </c:pt>
                <c:pt idx="38">
                  <c:v>7.5230711050740418</c:v>
                </c:pt>
                <c:pt idx="39">
                  <c:v>7.5994292293549925</c:v>
                </c:pt>
                <c:pt idx="40">
                  <c:v>7.623601840727523</c:v>
                </c:pt>
                <c:pt idx="41">
                  <c:v>7.9681265642121302</c:v>
                </c:pt>
                <c:pt idx="42">
                  <c:v>8.533549154718223</c:v>
                </c:pt>
                <c:pt idx="43">
                  <c:v>7.545780983285777</c:v>
                </c:pt>
                <c:pt idx="44">
                  <c:v>6.1092015261505761</c:v>
                </c:pt>
                <c:pt idx="45">
                  <c:v>5.0085456817169804</c:v>
                </c:pt>
                <c:pt idx="46">
                  <c:v>5.3131447580737845</c:v>
                </c:pt>
                <c:pt idx="47">
                  <c:v>4.6968397766460779</c:v>
                </c:pt>
                <c:pt idx="48">
                  <c:v>4.3737104778011737</c:v>
                </c:pt>
                <c:pt idx="49">
                  <c:v>2.8292067914551966</c:v>
                </c:pt>
                <c:pt idx="50">
                  <c:v>1.7386600136801489</c:v>
                </c:pt>
                <c:pt idx="51">
                  <c:v>1.000477982267256</c:v>
                </c:pt>
                <c:pt idx="52">
                  <c:v>2.2158196610205128</c:v>
                </c:pt>
                <c:pt idx="53">
                  <c:v>1.7847123486102179</c:v>
                </c:pt>
                <c:pt idx="54">
                  <c:v>1.3835860176702575</c:v>
                </c:pt>
                <c:pt idx="55">
                  <c:v>0.99603005659416599</c:v>
                </c:pt>
                <c:pt idx="56">
                  <c:v>2.4902372433640796</c:v>
                </c:pt>
                <c:pt idx="57">
                  <c:v>2.6854735690052145</c:v>
                </c:pt>
              </c:numCache>
            </c:numRef>
          </c:val>
          <c:smooth val="0"/>
          <c:extLst>
            <c:ext xmlns:c16="http://schemas.microsoft.com/office/drawing/2014/chart" uri="{C3380CC4-5D6E-409C-BE32-E72D297353CC}">
              <c16:uniqueId val="{00000001-AA79-4850-B2AB-D8CF0F56CBF7}"/>
            </c:ext>
          </c:extLst>
        </c:ser>
        <c:dLbls>
          <c:showLegendKey val="0"/>
          <c:showVal val="0"/>
          <c:showCatName val="0"/>
          <c:showSerName val="0"/>
          <c:showPercent val="0"/>
          <c:showBubbleSize val="0"/>
        </c:dLbls>
        <c:smooth val="0"/>
        <c:axId val="686310528"/>
        <c:axId val="803751008"/>
      </c:lineChart>
      <c:dateAx>
        <c:axId val="686310528"/>
        <c:scaling>
          <c:orientation val="minMax"/>
        </c:scaling>
        <c:delete val="0"/>
        <c:axPos val="b"/>
        <c:numFmt formatCode="mmm\-yy" sourceLinked="0"/>
        <c:majorTickMark val="none"/>
        <c:minorTickMark val="none"/>
        <c:tickLblPos val="low"/>
        <c:spPr>
          <a:noFill/>
          <a:ln w="9525" cap="flat" cmpd="sng" algn="ctr">
            <a:solidFill>
              <a:srgbClr val="000000"/>
            </a:solidFill>
            <a:round/>
          </a:ln>
          <a:effectLst/>
        </c:spPr>
        <c:txPr>
          <a:bodyPr rot="-5400000" spcFirstLastPara="1" vertOverflow="ellipsis" wrap="square" anchor="ctr" anchorCtr="1"/>
          <a:lstStyle/>
          <a:p>
            <a:pPr>
              <a:defRPr sz="1200" b="0" i="0" u="none" strike="noStrike" kern="1200" baseline="0">
                <a:solidFill>
                  <a:srgbClr val="000000"/>
                </a:solidFill>
                <a:latin typeface="GobCL"/>
                <a:ea typeface="Calibri"/>
                <a:cs typeface="Calibri"/>
              </a:defRPr>
            </a:pPr>
            <a:endParaRPr lang="es-CL"/>
          </a:p>
        </c:txPr>
        <c:crossAx val="803751008"/>
        <c:crosses val="autoZero"/>
        <c:auto val="1"/>
        <c:lblOffset val="100"/>
        <c:baseTimeUnit val="months"/>
      </c:dateAx>
      <c:valAx>
        <c:axId val="803751008"/>
        <c:scaling>
          <c:orientation val="minMax"/>
        </c:scaling>
        <c:delete val="0"/>
        <c:axPos val="l"/>
        <c:majorGridlines>
          <c:spPr>
            <a:ln w="9525" cap="flat" cmpd="sng" algn="ctr">
              <a:solidFill>
                <a:sysClr val="window" lastClr="FFFFFF">
                  <a:lumMod val="65000"/>
                </a:sysClr>
              </a:solidFill>
              <a:prstDash val="solid"/>
              <a:round/>
              <a:headEnd type="none" w="med" len="med"/>
              <a:tailEnd type="none" w="med" len="me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rgbClr val="000000"/>
                </a:solidFill>
                <a:latin typeface="GobCL"/>
                <a:ea typeface="Calibri"/>
                <a:cs typeface="Calibri"/>
              </a:defRPr>
            </a:pPr>
            <a:endParaRPr lang="es-CL"/>
          </a:p>
        </c:txPr>
        <c:crossAx val="68631052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rgbClr val="000000"/>
              </a:solidFill>
              <a:latin typeface="GobCL"/>
              <a:ea typeface="Calibri"/>
              <a:cs typeface="Calibri"/>
            </a:defRPr>
          </a:pPr>
          <a:endParaRPr lang="es-CL"/>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200">
          <a:solidFill>
            <a:srgbClr val="000000"/>
          </a:solidFill>
          <a:latin typeface="GobCL"/>
          <a:ea typeface="Calibri"/>
          <a:cs typeface="Calibri"/>
        </a:defRPr>
      </a:pPr>
      <a:endParaRPr lang="es-CL"/>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rgbClr val="000000"/>
                </a:solidFill>
                <a:latin typeface="GobCL"/>
                <a:ea typeface="Helvetica"/>
                <a:cs typeface="Helvetica"/>
              </a:defRPr>
            </a:pPr>
            <a:r>
              <a:rPr lang="es-CL" b="1"/>
              <a:t>Tasa de ocupación asalariados/as</a:t>
            </a:r>
            <a:r>
              <a:rPr lang="es-CL"/>
              <a:t>
</a:t>
            </a:r>
            <a:r>
              <a:rPr lang="es-CL" sz="1200"/>
              <a:t>(%)</a:t>
            </a:r>
            <a:endParaRPr lang="es-CL"/>
          </a:p>
        </c:rich>
      </c:tx>
      <c:overlay val="0"/>
      <c:spPr>
        <a:noFill/>
        <a:ln>
          <a:noFill/>
        </a:ln>
        <a:effectLst/>
      </c:spPr>
      <c:txPr>
        <a:bodyPr rot="0" spcFirstLastPara="1" vertOverflow="ellipsis" vert="horz" wrap="square" anchor="ctr" anchorCtr="1"/>
        <a:lstStyle/>
        <a:p>
          <a:pPr>
            <a:defRPr sz="1440" b="0" i="0" u="none" strike="noStrike" kern="1200" spc="0" baseline="0">
              <a:solidFill>
                <a:srgbClr val="000000"/>
              </a:solidFill>
              <a:latin typeface="GobCL"/>
              <a:ea typeface="Helvetica"/>
              <a:cs typeface="Helvetica"/>
            </a:defRPr>
          </a:pPr>
          <a:endParaRPr lang="es-CL"/>
        </a:p>
      </c:txPr>
    </c:title>
    <c:autoTitleDeleted val="0"/>
    <c:plotArea>
      <c:layout/>
      <c:lineChart>
        <c:grouping val="standard"/>
        <c:varyColors val="0"/>
        <c:ser>
          <c:idx val="0"/>
          <c:order val="0"/>
          <c:spPr>
            <a:ln w="28575" cap="rnd">
              <a:solidFill>
                <a:schemeClr val="accent1">
                  <a:lumMod val="50000"/>
                </a:schemeClr>
              </a:solidFill>
              <a:round/>
            </a:ln>
            <a:effectLst/>
          </c:spPr>
          <c:marker>
            <c:symbol val="none"/>
          </c:marker>
          <c:cat>
            <c:numRef>
              <c:f>'[Tasa de ocupacion.xlsx]AS'!$C$8:$C$171</c:f>
              <c:numCache>
                <c:formatCode>mmm\-yy</c:formatCode>
                <c:ptCount val="164"/>
                <c:pt idx="0">
                  <c:v>40238</c:v>
                </c:pt>
                <c:pt idx="1">
                  <c:v>40269</c:v>
                </c:pt>
                <c:pt idx="2">
                  <c:v>40299</c:v>
                </c:pt>
                <c:pt idx="3">
                  <c:v>40330</c:v>
                </c:pt>
                <c:pt idx="4">
                  <c:v>40360</c:v>
                </c:pt>
                <c:pt idx="5">
                  <c:v>40391</c:v>
                </c:pt>
                <c:pt idx="6">
                  <c:v>40422</c:v>
                </c:pt>
                <c:pt idx="7">
                  <c:v>40452</c:v>
                </c:pt>
                <c:pt idx="8">
                  <c:v>40483</c:v>
                </c:pt>
                <c:pt idx="9">
                  <c:v>40513</c:v>
                </c:pt>
                <c:pt idx="10">
                  <c:v>40544</c:v>
                </c:pt>
                <c:pt idx="11">
                  <c:v>40575</c:v>
                </c:pt>
                <c:pt idx="12">
                  <c:v>40603</c:v>
                </c:pt>
                <c:pt idx="13">
                  <c:v>40634</c:v>
                </c:pt>
                <c:pt idx="14">
                  <c:v>40664</c:v>
                </c:pt>
                <c:pt idx="15">
                  <c:v>40695</c:v>
                </c:pt>
                <c:pt idx="16">
                  <c:v>40725</c:v>
                </c:pt>
                <c:pt idx="17">
                  <c:v>40756</c:v>
                </c:pt>
                <c:pt idx="18">
                  <c:v>40787</c:v>
                </c:pt>
                <c:pt idx="19">
                  <c:v>40817</c:v>
                </c:pt>
                <c:pt idx="20">
                  <c:v>40848</c:v>
                </c:pt>
                <c:pt idx="21">
                  <c:v>40878</c:v>
                </c:pt>
                <c:pt idx="22">
                  <c:v>40909</c:v>
                </c:pt>
                <c:pt idx="23">
                  <c:v>40940</c:v>
                </c:pt>
                <c:pt idx="24">
                  <c:v>40969</c:v>
                </c:pt>
                <c:pt idx="25">
                  <c:v>41000</c:v>
                </c:pt>
                <c:pt idx="26">
                  <c:v>41030</c:v>
                </c:pt>
                <c:pt idx="27">
                  <c:v>41061</c:v>
                </c:pt>
                <c:pt idx="28">
                  <c:v>41091</c:v>
                </c:pt>
                <c:pt idx="29">
                  <c:v>41122</c:v>
                </c:pt>
                <c:pt idx="30">
                  <c:v>41153</c:v>
                </c:pt>
                <c:pt idx="31">
                  <c:v>41183</c:v>
                </c:pt>
                <c:pt idx="32">
                  <c:v>41214</c:v>
                </c:pt>
                <c:pt idx="33">
                  <c:v>41244</c:v>
                </c:pt>
                <c:pt idx="34">
                  <c:v>41275</c:v>
                </c:pt>
                <c:pt idx="35">
                  <c:v>41306</c:v>
                </c:pt>
                <c:pt idx="36">
                  <c:v>41334</c:v>
                </c:pt>
                <c:pt idx="37">
                  <c:v>41365</c:v>
                </c:pt>
                <c:pt idx="38">
                  <c:v>41395</c:v>
                </c:pt>
                <c:pt idx="39">
                  <c:v>41426</c:v>
                </c:pt>
                <c:pt idx="40">
                  <c:v>41456</c:v>
                </c:pt>
                <c:pt idx="41">
                  <c:v>41487</c:v>
                </c:pt>
                <c:pt idx="42">
                  <c:v>41518</c:v>
                </c:pt>
                <c:pt idx="43">
                  <c:v>41548</c:v>
                </c:pt>
                <c:pt idx="44">
                  <c:v>41579</c:v>
                </c:pt>
                <c:pt idx="45">
                  <c:v>41609</c:v>
                </c:pt>
                <c:pt idx="46">
                  <c:v>41640</c:v>
                </c:pt>
                <c:pt idx="47">
                  <c:v>41671</c:v>
                </c:pt>
                <c:pt idx="48">
                  <c:v>41699</c:v>
                </c:pt>
                <c:pt idx="49">
                  <c:v>41730</c:v>
                </c:pt>
                <c:pt idx="50">
                  <c:v>41760</c:v>
                </c:pt>
                <c:pt idx="51">
                  <c:v>41791</c:v>
                </c:pt>
                <c:pt idx="52">
                  <c:v>41821</c:v>
                </c:pt>
                <c:pt idx="53">
                  <c:v>41852</c:v>
                </c:pt>
                <c:pt idx="54">
                  <c:v>41883</c:v>
                </c:pt>
                <c:pt idx="55">
                  <c:v>41913</c:v>
                </c:pt>
                <c:pt idx="56">
                  <c:v>41944</c:v>
                </c:pt>
                <c:pt idx="57">
                  <c:v>41974</c:v>
                </c:pt>
                <c:pt idx="58">
                  <c:v>42005</c:v>
                </c:pt>
                <c:pt idx="59">
                  <c:v>42036</c:v>
                </c:pt>
                <c:pt idx="60">
                  <c:v>42064</c:v>
                </c:pt>
                <c:pt idx="61">
                  <c:v>42095</c:v>
                </c:pt>
                <c:pt idx="62">
                  <c:v>42125</c:v>
                </c:pt>
                <c:pt idx="63">
                  <c:v>42156</c:v>
                </c:pt>
                <c:pt idx="64">
                  <c:v>42186</c:v>
                </c:pt>
                <c:pt idx="65">
                  <c:v>42217</c:v>
                </c:pt>
                <c:pt idx="66">
                  <c:v>42248</c:v>
                </c:pt>
                <c:pt idx="67">
                  <c:v>42278</c:v>
                </c:pt>
                <c:pt idx="68">
                  <c:v>42309</c:v>
                </c:pt>
                <c:pt idx="69">
                  <c:v>42339</c:v>
                </c:pt>
                <c:pt idx="70">
                  <c:v>42370</c:v>
                </c:pt>
                <c:pt idx="71">
                  <c:v>42401</c:v>
                </c:pt>
                <c:pt idx="72">
                  <c:v>42430</c:v>
                </c:pt>
                <c:pt idx="73">
                  <c:v>42461</c:v>
                </c:pt>
                <c:pt idx="74">
                  <c:v>42491</c:v>
                </c:pt>
                <c:pt idx="75">
                  <c:v>42522</c:v>
                </c:pt>
                <c:pt idx="76">
                  <c:v>42552</c:v>
                </c:pt>
                <c:pt idx="77">
                  <c:v>42583</c:v>
                </c:pt>
                <c:pt idx="78">
                  <c:v>42614</c:v>
                </c:pt>
                <c:pt idx="79">
                  <c:v>42644</c:v>
                </c:pt>
                <c:pt idx="80">
                  <c:v>42675</c:v>
                </c:pt>
                <c:pt idx="81">
                  <c:v>42705</c:v>
                </c:pt>
                <c:pt idx="82">
                  <c:v>42736</c:v>
                </c:pt>
                <c:pt idx="83">
                  <c:v>42767</c:v>
                </c:pt>
                <c:pt idx="84">
                  <c:v>42795</c:v>
                </c:pt>
                <c:pt idx="85">
                  <c:v>42826</c:v>
                </c:pt>
                <c:pt idx="86">
                  <c:v>42856</c:v>
                </c:pt>
                <c:pt idx="87">
                  <c:v>42887</c:v>
                </c:pt>
                <c:pt idx="88">
                  <c:v>42917</c:v>
                </c:pt>
                <c:pt idx="89">
                  <c:v>42948</c:v>
                </c:pt>
                <c:pt idx="90">
                  <c:v>42979</c:v>
                </c:pt>
                <c:pt idx="91">
                  <c:v>43009</c:v>
                </c:pt>
                <c:pt idx="92">
                  <c:v>43040</c:v>
                </c:pt>
                <c:pt idx="93">
                  <c:v>43070</c:v>
                </c:pt>
                <c:pt idx="94">
                  <c:v>43101</c:v>
                </c:pt>
                <c:pt idx="95">
                  <c:v>43132</c:v>
                </c:pt>
                <c:pt idx="96">
                  <c:v>43160</c:v>
                </c:pt>
                <c:pt idx="97">
                  <c:v>43191</c:v>
                </c:pt>
                <c:pt idx="98">
                  <c:v>43221</c:v>
                </c:pt>
                <c:pt idx="99">
                  <c:v>43252</c:v>
                </c:pt>
                <c:pt idx="100">
                  <c:v>43282</c:v>
                </c:pt>
                <c:pt idx="101">
                  <c:v>43313</c:v>
                </c:pt>
                <c:pt idx="102">
                  <c:v>43344</c:v>
                </c:pt>
                <c:pt idx="103">
                  <c:v>43374</c:v>
                </c:pt>
                <c:pt idx="104">
                  <c:v>43405</c:v>
                </c:pt>
                <c:pt idx="105">
                  <c:v>43435</c:v>
                </c:pt>
                <c:pt idx="106">
                  <c:v>43466</c:v>
                </c:pt>
                <c:pt idx="107">
                  <c:v>43497</c:v>
                </c:pt>
                <c:pt idx="108">
                  <c:v>43525</c:v>
                </c:pt>
                <c:pt idx="109">
                  <c:v>43556</c:v>
                </c:pt>
                <c:pt idx="110">
                  <c:v>43586</c:v>
                </c:pt>
                <c:pt idx="111">
                  <c:v>43617</c:v>
                </c:pt>
                <c:pt idx="112">
                  <c:v>43647</c:v>
                </c:pt>
                <c:pt idx="113">
                  <c:v>43678</c:v>
                </c:pt>
                <c:pt idx="114">
                  <c:v>43709</c:v>
                </c:pt>
                <c:pt idx="115">
                  <c:v>43739</c:v>
                </c:pt>
                <c:pt idx="116">
                  <c:v>43770</c:v>
                </c:pt>
                <c:pt idx="117">
                  <c:v>43800</c:v>
                </c:pt>
                <c:pt idx="118">
                  <c:v>43831</c:v>
                </c:pt>
                <c:pt idx="119">
                  <c:v>43862</c:v>
                </c:pt>
                <c:pt idx="120">
                  <c:v>43891</c:v>
                </c:pt>
                <c:pt idx="121">
                  <c:v>43922</c:v>
                </c:pt>
                <c:pt idx="122">
                  <c:v>43952</c:v>
                </c:pt>
                <c:pt idx="123">
                  <c:v>43983</c:v>
                </c:pt>
                <c:pt idx="124">
                  <c:v>44013</c:v>
                </c:pt>
                <c:pt idx="125">
                  <c:v>44044</c:v>
                </c:pt>
                <c:pt idx="126">
                  <c:v>44075</c:v>
                </c:pt>
                <c:pt idx="127">
                  <c:v>44105</c:v>
                </c:pt>
                <c:pt idx="128">
                  <c:v>44136</c:v>
                </c:pt>
                <c:pt idx="129">
                  <c:v>44166</c:v>
                </c:pt>
                <c:pt idx="130">
                  <c:v>44197</c:v>
                </c:pt>
                <c:pt idx="131">
                  <c:v>44228</c:v>
                </c:pt>
                <c:pt idx="132">
                  <c:v>44256</c:v>
                </c:pt>
                <c:pt idx="133">
                  <c:v>44287</c:v>
                </c:pt>
                <c:pt idx="134">
                  <c:v>44317</c:v>
                </c:pt>
                <c:pt idx="135">
                  <c:v>44348</c:v>
                </c:pt>
                <c:pt idx="136">
                  <c:v>44378</c:v>
                </c:pt>
                <c:pt idx="137">
                  <c:v>44409</c:v>
                </c:pt>
                <c:pt idx="138">
                  <c:v>44440</c:v>
                </c:pt>
                <c:pt idx="139">
                  <c:v>44470</c:v>
                </c:pt>
                <c:pt idx="140">
                  <c:v>44501</c:v>
                </c:pt>
                <c:pt idx="141">
                  <c:v>44531</c:v>
                </c:pt>
                <c:pt idx="142">
                  <c:v>44562</c:v>
                </c:pt>
                <c:pt idx="143">
                  <c:v>44593</c:v>
                </c:pt>
                <c:pt idx="144">
                  <c:v>44621</c:v>
                </c:pt>
                <c:pt idx="145">
                  <c:v>44652</c:v>
                </c:pt>
                <c:pt idx="146">
                  <c:v>44682</c:v>
                </c:pt>
                <c:pt idx="147">
                  <c:v>44713</c:v>
                </c:pt>
                <c:pt idx="148">
                  <c:v>44743</c:v>
                </c:pt>
                <c:pt idx="149">
                  <c:v>44774</c:v>
                </c:pt>
                <c:pt idx="150">
                  <c:v>44805</c:v>
                </c:pt>
                <c:pt idx="151">
                  <c:v>44835</c:v>
                </c:pt>
                <c:pt idx="152">
                  <c:v>44866</c:v>
                </c:pt>
                <c:pt idx="153">
                  <c:v>44896</c:v>
                </c:pt>
                <c:pt idx="154">
                  <c:v>44927</c:v>
                </c:pt>
                <c:pt idx="155">
                  <c:v>44958</c:v>
                </c:pt>
                <c:pt idx="156">
                  <c:v>44986</c:v>
                </c:pt>
                <c:pt idx="157">
                  <c:v>45017</c:v>
                </c:pt>
                <c:pt idx="158">
                  <c:v>45047</c:v>
                </c:pt>
                <c:pt idx="159">
                  <c:v>45078</c:v>
                </c:pt>
                <c:pt idx="160">
                  <c:v>45108</c:v>
                </c:pt>
                <c:pt idx="161">
                  <c:v>45139</c:v>
                </c:pt>
                <c:pt idx="162">
                  <c:v>45170</c:v>
                </c:pt>
                <c:pt idx="163">
                  <c:v>45200</c:v>
                </c:pt>
              </c:numCache>
            </c:numRef>
          </c:cat>
          <c:val>
            <c:numRef>
              <c:f>'[Tasa de ocupacion.xlsx]AS'!$O$8:$O$171</c:f>
              <c:numCache>
                <c:formatCode>#,##0.00</c:formatCode>
                <c:ptCount val="164"/>
                <c:pt idx="0">
                  <c:v>38.899029615423125</c:v>
                </c:pt>
                <c:pt idx="1">
                  <c:v>38.64358406314269</c:v>
                </c:pt>
                <c:pt idx="2">
                  <c:v>38.336278256962359</c:v>
                </c:pt>
                <c:pt idx="3">
                  <c:v>38.235928260873443</c:v>
                </c:pt>
                <c:pt idx="4">
                  <c:v>38.246236719483676</c:v>
                </c:pt>
                <c:pt idx="5">
                  <c:v>38.182713908641787</c:v>
                </c:pt>
                <c:pt idx="6">
                  <c:v>38.508796562817132</c:v>
                </c:pt>
                <c:pt idx="7">
                  <c:v>38.612038360952411</c:v>
                </c:pt>
                <c:pt idx="8">
                  <c:v>39.057254687230717</c:v>
                </c:pt>
                <c:pt idx="9">
                  <c:v>39.586767662000668</c:v>
                </c:pt>
                <c:pt idx="10">
                  <c:v>39.970183262456302</c:v>
                </c:pt>
                <c:pt idx="11">
                  <c:v>40.248267934442218</c:v>
                </c:pt>
                <c:pt idx="12">
                  <c:v>40.184685802754174</c:v>
                </c:pt>
                <c:pt idx="13">
                  <c:v>40.036770641459931</c:v>
                </c:pt>
                <c:pt idx="14">
                  <c:v>39.752509536067222</c:v>
                </c:pt>
                <c:pt idx="15">
                  <c:v>39.595811552884712</c:v>
                </c:pt>
                <c:pt idx="16">
                  <c:v>39.546482264447711</c:v>
                </c:pt>
                <c:pt idx="17">
                  <c:v>39.64285467067505</c:v>
                </c:pt>
                <c:pt idx="18">
                  <c:v>39.540828154210047</c:v>
                </c:pt>
                <c:pt idx="19">
                  <c:v>39.649800475469114</c:v>
                </c:pt>
                <c:pt idx="20">
                  <c:v>39.874149712430359</c:v>
                </c:pt>
                <c:pt idx="21">
                  <c:v>40.830186531355793</c:v>
                </c:pt>
                <c:pt idx="22">
                  <c:v>41.323509442638382</c:v>
                </c:pt>
                <c:pt idx="23">
                  <c:v>41.751856585382548</c:v>
                </c:pt>
                <c:pt idx="24">
                  <c:v>41.40228390725111</c:v>
                </c:pt>
                <c:pt idx="25">
                  <c:v>41.256289826115491</c:v>
                </c:pt>
                <c:pt idx="26">
                  <c:v>41.050534243292006</c:v>
                </c:pt>
                <c:pt idx="27">
                  <c:v>40.916394732159652</c:v>
                </c:pt>
                <c:pt idx="28">
                  <c:v>40.773733172000298</c:v>
                </c:pt>
                <c:pt idx="29">
                  <c:v>40.588354400500485</c:v>
                </c:pt>
                <c:pt idx="30">
                  <c:v>40.762277058696036</c:v>
                </c:pt>
                <c:pt idx="31">
                  <c:v>40.734026428846178</c:v>
                </c:pt>
                <c:pt idx="32">
                  <c:v>41.057566227887406</c:v>
                </c:pt>
                <c:pt idx="33">
                  <c:v>41.487670679212329</c:v>
                </c:pt>
                <c:pt idx="34">
                  <c:v>42.077936690113198</c:v>
                </c:pt>
                <c:pt idx="35">
                  <c:v>42.267100088652313</c:v>
                </c:pt>
                <c:pt idx="36">
                  <c:v>42.027401756490491</c:v>
                </c:pt>
                <c:pt idx="37">
                  <c:v>41.894480368795243</c:v>
                </c:pt>
                <c:pt idx="38">
                  <c:v>41.596337030245806</c:v>
                </c:pt>
                <c:pt idx="39">
                  <c:v>41.297261738836774</c:v>
                </c:pt>
                <c:pt idx="40">
                  <c:v>41.104982157197178</c:v>
                </c:pt>
                <c:pt idx="41">
                  <c:v>41.07125362087659</c:v>
                </c:pt>
                <c:pt idx="42">
                  <c:v>40.950799830161046</c:v>
                </c:pt>
                <c:pt idx="43">
                  <c:v>41.042628350648982</c:v>
                </c:pt>
                <c:pt idx="44">
                  <c:v>41.260162890087557</c:v>
                </c:pt>
                <c:pt idx="45">
                  <c:v>41.794801023398058</c:v>
                </c:pt>
                <c:pt idx="46">
                  <c:v>42.062806990627777</c:v>
                </c:pt>
                <c:pt idx="47">
                  <c:v>42.183864770127286</c:v>
                </c:pt>
                <c:pt idx="48">
                  <c:v>41.733050494672447</c:v>
                </c:pt>
                <c:pt idx="49">
                  <c:v>41.51980816286526</c:v>
                </c:pt>
                <c:pt idx="50">
                  <c:v>41.104025951912085</c:v>
                </c:pt>
                <c:pt idx="51">
                  <c:v>40.83461361660234</c:v>
                </c:pt>
                <c:pt idx="52">
                  <c:v>40.702239085406788</c:v>
                </c:pt>
                <c:pt idx="53">
                  <c:v>40.576025218500632</c:v>
                </c:pt>
                <c:pt idx="54">
                  <c:v>40.569995522023135</c:v>
                </c:pt>
                <c:pt idx="55">
                  <c:v>40.670645161173653</c:v>
                </c:pt>
                <c:pt idx="56">
                  <c:v>41.003394715287833</c:v>
                </c:pt>
                <c:pt idx="57">
                  <c:v>41.679504839289478</c:v>
                </c:pt>
                <c:pt idx="58">
                  <c:v>42.089096329010324</c:v>
                </c:pt>
                <c:pt idx="59">
                  <c:v>42.256237579409664</c:v>
                </c:pt>
                <c:pt idx="60">
                  <c:v>42.040052361452965</c:v>
                </c:pt>
                <c:pt idx="61">
                  <c:v>41.620502210748946</c:v>
                </c:pt>
                <c:pt idx="62">
                  <c:v>41.278199848395545</c:v>
                </c:pt>
                <c:pt idx="63">
                  <c:v>41.104860224420847</c:v>
                </c:pt>
                <c:pt idx="64">
                  <c:v>41.032264114325656</c:v>
                </c:pt>
                <c:pt idx="65">
                  <c:v>41.029884047478831</c:v>
                </c:pt>
                <c:pt idx="66">
                  <c:v>41.208962222063541</c:v>
                </c:pt>
                <c:pt idx="67">
                  <c:v>41.198645465527868</c:v>
                </c:pt>
                <c:pt idx="68">
                  <c:v>41.348188678907519</c:v>
                </c:pt>
                <c:pt idx="69">
                  <c:v>41.886040723572634</c:v>
                </c:pt>
                <c:pt idx="70">
                  <c:v>42.172488943039639</c:v>
                </c:pt>
                <c:pt idx="71">
                  <c:v>42.300161963651476</c:v>
                </c:pt>
                <c:pt idx="72">
                  <c:v>41.663122201178176</c:v>
                </c:pt>
                <c:pt idx="73">
                  <c:v>41.471400985305216</c:v>
                </c:pt>
                <c:pt idx="74">
                  <c:v>40.955868976214063</c:v>
                </c:pt>
                <c:pt idx="75">
                  <c:v>40.796190515081854</c:v>
                </c:pt>
                <c:pt idx="76">
                  <c:v>40.524698583289528</c:v>
                </c:pt>
                <c:pt idx="77">
                  <c:v>40.463990208420562</c:v>
                </c:pt>
                <c:pt idx="78">
                  <c:v>40.54476834535668</c:v>
                </c:pt>
                <c:pt idx="79">
                  <c:v>40.510155390390025</c:v>
                </c:pt>
                <c:pt idx="80">
                  <c:v>40.85437630703121</c:v>
                </c:pt>
                <c:pt idx="81">
                  <c:v>41.03717575655871</c:v>
                </c:pt>
                <c:pt idx="82">
                  <c:v>41.087755189623628</c:v>
                </c:pt>
                <c:pt idx="83">
                  <c:v>40.78702075005252</c:v>
                </c:pt>
                <c:pt idx="84">
                  <c:v>40.863096134676461</c:v>
                </c:pt>
                <c:pt idx="85">
                  <c:v>41.042269551143818</c:v>
                </c:pt>
                <c:pt idx="86">
                  <c:v>40.979659096356237</c:v>
                </c:pt>
                <c:pt idx="87">
                  <c:v>40.842447975167318</c:v>
                </c:pt>
                <c:pt idx="88">
                  <c:v>40.565774777926663</c:v>
                </c:pt>
                <c:pt idx="89">
                  <c:v>40.604642770035497</c:v>
                </c:pt>
                <c:pt idx="90">
                  <c:v>40.402892361227941</c:v>
                </c:pt>
                <c:pt idx="91">
                  <c:v>40.45137091302454</c:v>
                </c:pt>
                <c:pt idx="92">
                  <c:v>40.967260302622257</c:v>
                </c:pt>
                <c:pt idx="93">
                  <c:v>41.396868343724492</c:v>
                </c:pt>
                <c:pt idx="94">
                  <c:v>41.567962327365059</c:v>
                </c:pt>
                <c:pt idx="95">
                  <c:v>41.76932104680985</c:v>
                </c:pt>
                <c:pt idx="96">
                  <c:v>41.383863689331825</c:v>
                </c:pt>
                <c:pt idx="97">
                  <c:v>41.472971535879417</c:v>
                </c:pt>
                <c:pt idx="98">
                  <c:v>41.121246756113479</c:v>
                </c:pt>
                <c:pt idx="99">
                  <c:v>41.290996443074754</c:v>
                </c:pt>
                <c:pt idx="100">
                  <c:v>41.04786846346525</c:v>
                </c:pt>
                <c:pt idx="101">
                  <c:v>40.940107261709251</c:v>
                </c:pt>
                <c:pt idx="102">
                  <c:v>40.633508834140351</c:v>
                </c:pt>
                <c:pt idx="103">
                  <c:v>40.662444210304358</c:v>
                </c:pt>
                <c:pt idx="104">
                  <c:v>40.644522844929902</c:v>
                </c:pt>
                <c:pt idx="105">
                  <c:v>41.37039760626012</c:v>
                </c:pt>
                <c:pt idx="106">
                  <c:v>41.562699323531973</c:v>
                </c:pt>
                <c:pt idx="107">
                  <c:v>41.467210780965999</c:v>
                </c:pt>
                <c:pt idx="108">
                  <c:v>41.240651603186009</c:v>
                </c:pt>
                <c:pt idx="109">
                  <c:v>41.07170813715156</c:v>
                </c:pt>
                <c:pt idx="110">
                  <c:v>40.951088261355991</c:v>
                </c:pt>
                <c:pt idx="111">
                  <c:v>40.78610986653522</c:v>
                </c:pt>
                <c:pt idx="112">
                  <c:v>40.968918902906708</c:v>
                </c:pt>
                <c:pt idx="113">
                  <c:v>40.921360289431405</c:v>
                </c:pt>
                <c:pt idx="114">
                  <c:v>40.97831614372847</c:v>
                </c:pt>
                <c:pt idx="115">
                  <c:v>40.844875269559097</c:v>
                </c:pt>
                <c:pt idx="116">
                  <c:v>41.314191269329584</c:v>
                </c:pt>
                <c:pt idx="117">
                  <c:v>41.579782693776444</c:v>
                </c:pt>
                <c:pt idx="118">
                  <c:v>41.89685832983524</c:v>
                </c:pt>
                <c:pt idx="119">
                  <c:v>41.931445979173823</c:v>
                </c:pt>
                <c:pt idx="120">
                  <c:v>41.516993535643579</c:v>
                </c:pt>
                <c:pt idx="121">
                  <c:v>39.170490213191719</c:v>
                </c:pt>
                <c:pt idx="122">
                  <c:v>35.939346440331967</c:v>
                </c:pt>
                <c:pt idx="123">
                  <c:v>34.762659899708801</c:v>
                </c:pt>
                <c:pt idx="124">
                  <c:v>34.158974994615221</c:v>
                </c:pt>
                <c:pt idx="125">
                  <c:v>34.671346701539349</c:v>
                </c:pt>
                <c:pt idx="126">
                  <c:v>35.149643245173465</c:v>
                </c:pt>
                <c:pt idx="127">
                  <c:v>36.220465181760545</c:v>
                </c:pt>
                <c:pt idx="128">
                  <c:v>36.963844738531726</c:v>
                </c:pt>
                <c:pt idx="129">
                  <c:v>37.514577661590451</c:v>
                </c:pt>
                <c:pt idx="130">
                  <c:v>37.936845918270713</c:v>
                </c:pt>
                <c:pt idx="131">
                  <c:v>38.005706785378706</c:v>
                </c:pt>
                <c:pt idx="132">
                  <c:v>37.710653163163514</c:v>
                </c:pt>
                <c:pt idx="133">
                  <c:v>37.408145911411651</c:v>
                </c:pt>
                <c:pt idx="134">
                  <c:v>36.973947130696374</c:v>
                </c:pt>
                <c:pt idx="135">
                  <c:v>36.999583794893866</c:v>
                </c:pt>
                <c:pt idx="136">
                  <c:v>37.201827302028114</c:v>
                </c:pt>
                <c:pt idx="137">
                  <c:v>37.574589261393768</c:v>
                </c:pt>
                <c:pt idx="138">
                  <c:v>37.793590489330498</c:v>
                </c:pt>
                <c:pt idx="139">
                  <c:v>38.056568403046001</c:v>
                </c:pt>
                <c:pt idx="140">
                  <c:v>38.452990747670569</c:v>
                </c:pt>
                <c:pt idx="141">
                  <c:v>39.022685037154481</c:v>
                </c:pt>
                <c:pt idx="142">
                  <c:v>39.53157755771575</c:v>
                </c:pt>
                <c:pt idx="143">
                  <c:v>40.264169487605002</c:v>
                </c:pt>
                <c:pt idx="144">
                  <c:v>40.34434184968336</c:v>
                </c:pt>
                <c:pt idx="145">
                  <c:v>40.306519374676292</c:v>
                </c:pt>
                <c:pt idx="146">
                  <c:v>39.807855488811406</c:v>
                </c:pt>
                <c:pt idx="147">
                  <c:v>39.882698264111092</c:v>
                </c:pt>
                <c:pt idx="148">
                  <c:v>40.04995352520293</c:v>
                </c:pt>
                <c:pt idx="149">
                  <c:v>40.025103921339195</c:v>
                </c:pt>
                <c:pt idx="150">
                  <c:v>39.779037620618944</c:v>
                </c:pt>
                <c:pt idx="151">
                  <c:v>39.842786753796936</c:v>
                </c:pt>
                <c:pt idx="152">
                  <c:v>40.266791606100362</c:v>
                </c:pt>
                <c:pt idx="153">
                  <c:v>40.620156603819439</c:v>
                </c:pt>
                <c:pt idx="154">
                  <c:v>40.983295882657529</c:v>
                </c:pt>
                <c:pt idx="155">
                  <c:v>41.062589170648458</c:v>
                </c:pt>
                <c:pt idx="156">
                  <c:v>40.868887575731101</c:v>
                </c:pt>
                <c:pt idx="157">
                  <c:v>40.62229830512036</c:v>
                </c:pt>
                <c:pt idx="158">
                  <c:v>40.670163480163993</c:v>
                </c:pt>
                <c:pt idx="159">
                  <c:v>40.670524997244733</c:v>
                </c:pt>
                <c:pt idx="160">
                  <c:v>40.681620942376959</c:v>
                </c:pt>
                <c:pt idx="161">
                  <c:v>40.528649898107936</c:v>
                </c:pt>
                <c:pt idx="162">
                  <c:v>40.508065495331955</c:v>
                </c:pt>
                <c:pt idx="163">
                  <c:v>40.540715122802915</c:v>
                </c:pt>
              </c:numCache>
            </c:numRef>
          </c:val>
          <c:smooth val="0"/>
          <c:extLst>
            <c:ext xmlns:c16="http://schemas.microsoft.com/office/drawing/2014/chart" uri="{C3380CC4-5D6E-409C-BE32-E72D297353CC}">
              <c16:uniqueId val="{00000000-54FD-483C-8620-46D2AEE0052E}"/>
            </c:ext>
          </c:extLst>
        </c:ser>
        <c:dLbls>
          <c:showLegendKey val="0"/>
          <c:showVal val="0"/>
          <c:showCatName val="0"/>
          <c:showSerName val="0"/>
          <c:showPercent val="0"/>
          <c:showBubbleSize val="0"/>
        </c:dLbls>
        <c:smooth val="0"/>
        <c:axId val="776749888"/>
        <c:axId val="776285472"/>
      </c:lineChart>
      <c:dateAx>
        <c:axId val="776749888"/>
        <c:scaling>
          <c:orientation val="minMax"/>
          <c:min val="40330"/>
        </c:scaling>
        <c:delete val="0"/>
        <c:axPos val="b"/>
        <c:numFmt formatCode="mmm\-yy" sourceLinked="0"/>
        <c:majorTickMark val="none"/>
        <c:minorTickMark val="none"/>
        <c:tickLblPos val="low"/>
        <c:spPr>
          <a:noFill/>
          <a:ln w="9525" cap="flat" cmpd="sng" algn="ctr">
            <a:solidFill>
              <a:srgbClr val="000000"/>
            </a:solidFill>
            <a:round/>
          </a:ln>
          <a:effectLst/>
        </c:spPr>
        <c:txPr>
          <a:bodyPr rot="-5400000" spcFirstLastPara="1" vertOverflow="ellipsis" wrap="square" anchor="ctr" anchorCtr="1"/>
          <a:lstStyle/>
          <a:p>
            <a:pPr>
              <a:defRPr sz="1200" b="0" i="0" u="none" strike="noStrike" kern="1200" baseline="0">
                <a:solidFill>
                  <a:srgbClr val="000000"/>
                </a:solidFill>
                <a:latin typeface="GobCL"/>
                <a:ea typeface="Helvetica"/>
                <a:cs typeface="Helvetica"/>
              </a:defRPr>
            </a:pPr>
            <a:endParaRPr lang="es-CL"/>
          </a:p>
        </c:txPr>
        <c:crossAx val="776285472"/>
        <c:crosses val="autoZero"/>
        <c:auto val="1"/>
        <c:lblOffset val="100"/>
        <c:baseTimeUnit val="months"/>
      </c:dateAx>
      <c:valAx>
        <c:axId val="776285472"/>
        <c:scaling>
          <c:orientation val="minMax"/>
          <c:min val="30"/>
        </c:scaling>
        <c:delete val="0"/>
        <c:axPos val="l"/>
        <c:majorGridlines>
          <c:spPr>
            <a:ln w="9525" cap="flat" cmpd="sng" algn="ctr">
              <a:solidFill>
                <a:sysClr val="window" lastClr="FFFFFF">
                  <a:lumMod val="65000"/>
                </a:sysClr>
              </a:solidFill>
              <a:prstDash val="solid"/>
              <a:round/>
              <a:headEnd type="none" w="med" len="med"/>
              <a:tailEnd type="none" w="med" len="me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rgbClr val="000000"/>
                </a:solidFill>
                <a:latin typeface="GobCL"/>
                <a:ea typeface="Helvetica"/>
                <a:cs typeface="Helvetica"/>
              </a:defRPr>
            </a:pPr>
            <a:endParaRPr lang="es-CL"/>
          </a:p>
        </c:txPr>
        <c:crossAx val="7767498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200">
          <a:solidFill>
            <a:srgbClr val="000000"/>
          </a:solidFill>
          <a:latin typeface="GobCL"/>
          <a:ea typeface="Helvetica"/>
          <a:cs typeface="Helvetica"/>
        </a:defRPr>
      </a:pPr>
      <a:endParaRPr lang="es-C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rgbClr val="000000"/>
                </a:solidFill>
                <a:latin typeface="GobCL"/>
                <a:ea typeface="Helvetica"/>
                <a:cs typeface="Helvetica"/>
              </a:defRPr>
            </a:pPr>
            <a:r>
              <a:rPr lang="es-CL" b="1"/>
              <a:t>Tasa de ocupación no asalariados/as (1)</a:t>
            </a:r>
            <a:r>
              <a:rPr lang="es-CL"/>
              <a:t>
</a:t>
            </a:r>
            <a:r>
              <a:rPr lang="es-CL" sz="1200"/>
              <a:t>(%)</a:t>
            </a:r>
            <a:endParaRPr lang="es-CL"/>
          </a:p>
        </c:rich>
      </c:tx>
      <c:overlay val="0"/>
      <c:spPr>
        <a:noFill/>
        <a:ln>
          <a:noFill/>
        </a:ln>
        <a:effectLst/>
      </c:spPr>
      <c:txPr>
        <a:bodyPr rot="0" spcFirstLastPara="1" vertOverflow="ellipsis" vert="horz" wrap="square" anchor="ctr" anchorCtr="1"/>
        <a:lstStyle/>
        <a:p>
          <a:pPr>
            <a:defRPr sz="1440" b="0" i="0" u="none" strike="noStrike" kern="1200" spc="0" baseline="0">
              <a:solidFill>
                <a:srgbClr val="000000"/>
              </a:solidFill>
              <a:latin typeface="GobCL"/>
              <a:ea typeface="Helvetica"/>
              <a:cs typeface="Helvetica"/>
            </a:defRPr>
          </a:pPr>
          <a:endParaRPr lang="es-CL"/>
        </a:p>
      </c:txPr>
    </c:title>
    <c:autoTitleDeleted val="0"/>
    <c:plotArea>
      <c:layout/>
      <c:lineChart>
        <c:grouping val="standard"/>
        <c:varyColors val="0"/>
        <c:ser>
          <c:idx val="0"/>
          <c:order val="0"/>
          <c:spPr>
            <a:ln w="28575" cap="rnd">
              <a:solidFill>
                <a:schemeClr val="accent1">
                  <a:lumMod val="75000"/>
                </a:schemeClr>
              </a:solidFill>
              <a:round/>
            </a:ln>
            <a:effectLst/>
          </c:spPr>
          <c:marker>
            <c:symbol val="none"/>
          </c:marker>
          <c:cat>
            <c:numRef>
              <c:f>'[Tasa de ocupacion.xlsx]AS'!$C$8:$C$171</c:f>
              <c:numCache>
                <c:formatCode>mmm\-yy</c:formatCode>
                <c:ptCount val="164"/>
                <c:pt idx="0">
                  <c:v>40238</c:v>
                </c:pt>
                <c:pt idx="1">
                  <c:v>40269</c:v>
                </c:pt>
                <c:pt idx="2">
                  <c:v>40299</c:v>
                </c:pt>
                <c:pt idx="3">
                  <c:v>40330</c:v>
                </c:pt>
                <c:pt idx="4">
                  <c:v>40360</c:v>
                </c:pt>
                <c:pt idx="5">
                  <c:v>40391</c:v>
                </c:pt>
                <c:pt idx="6">
                  <c:v>40422</c:v>
                </c:pt>
                <c:pt idx="7">
                  <c:v>40452</c:v>
                </c:pt>
                <c:pt idx="8">
                  <c:v>40483</c:v>
                </c:pt>
                <c:pt idx="9">
                  <c:v>40513</c:v>
                </c:pt>
                <c:pt idx="10">
                  <c:v>40544</c:v>
                </c:pt>
                <c:pt idx="11">
                  <c:v>40575</c:v>
                </c:pt>
                <c:pt idx="12">
                  <c:v>40603</c:v>
                </c:pt>
                <c:pt idx="13">
                  <c:v>40634</c:v>
                </c:pt>
                <c:pt idx="14">
                  <c:v>40664</c:v>
                </c:pt>
                <c:pt idx="15">
                  <c:v>40695</c:v>
                </c:pt>
                <c:pt idx="16">
                  <c:v>40725</c:v>
                </c:pt>
                <c:pt idx="17">
                  <c:v>40756</c:v>
                </c:pt>
                <c:pt idx="18">
                  <c:v>40787</c:v>
                </c:pt>
                <c:pt idx="19">
                  <c:v>40817</c:v>
                </c:pt>
                <c:pt idx="20">
                  <c:v>40848</c:v>
                </c:pt>
                <c:pt idx="21">
                  <c:v>40878</c:v>
                </c:pt>
                <c:pt idx="22">
                  <c:v>40909</c:v>
                </c:pt>
                <c:pt idx="23">
                  <c:v>40940</c:v>
                </c:pt>
                <c:pt idx="24">
                  <c:v>40969</c:v>
                </c:pt>
                <c:pt idx="25">
                  <c:v>41000</c:v>
                </c:pt>
                <c:pt idx="26">
                  <c:v>41030</c:v>
                </c:pt>
                <c:pt idx="27">
                  <c:v>41061</c:v>
                </c:pt>
                <c:pt idx="28">
                  <c:v>41091</c:v>
                </c:pt>
                <c:pt idx="29">
                  <c:v>41122</c:v>
                </c:pt>
                <c:pt idx="30">
                  <c:v>41153</c:v>
                </c:pt>
                <c:pt idx="31">
                  <c:v>41183</c:v>
                </c:pt>
                <c:pt idx="32">
                  <c:v>41214</c:v>
                </c:pt>
                <c:pt idx="33">
                  <c:v>41244</c:v>
                </c:pt>
                <c:pt idx="34">
                  <c:v>41275</c:v>
                </c:pt>
                <c:pt idx="35">
                  <c:v>41306</c:v>
                </c:pt>
                <c:pt idx="36">
                  <c:v>41334</c:v>
                </c:pt>
                <c:pt idx="37">
                  <c:v>41365</c:v>
                </c:pt>
                <c:pt idx="38">
                  <c:v>41395</c:v>
                </c:pt>
                <c:pt idx="39">
                  <c:v>41426</c:v>
                </c:pt>
                <c:pt idx="40">
                  <c:v>41456</c:v>
                </c:pt>
                <c:pt idx="41">
                  <c:v>41487</c:v>
                </c:pt>
                <c:pt idx="42">
                  <c:v>41518</c:v>
                </c:pt>
                <c:pt idx="43">
                  <c:v>41548</c:v>
                </c:pt>
                <c:pt idx="44">
                  <c:v>41579</c:v>
                </c:pt>
                <c:pt idx="45">
                  <c:v>41609</c:v>
                </c:pt>
                <c:pt idx="46">
                  <c:v>41640</c:v>
                </c:pt>
                <c:pt idx="47">
                  <c:v>41671</c:v>
                </c:pt>
                <c:pt idx="48">
                  <c:v>41699</c:v>
                </c:pt>
                <c:pt idx="49">
                  <c:v>41730</c:v>
                </c:pt>
                <c:pt idx="50">
                  <c:v>41760</c:v>
                </c:pt>
                <c:pt idx="51">
                  <c:v>41791</c:v>
                </c:pt>
                <c:pt idx="52">
                  <c:v>41821</c:v>
                </c:pt>
                <c:pt idx="53">
                  <c:v>41852</c:v>
                </c:pt>
                <c:pt idx="54">
                  <c:v>41883</c:v>
                </c:pt>
                <c:pt idx="55">
                  <c:v>41913</c:v>
                </c:pt>
                <c:pt idx="56">
                  <c:v>41944</c:v>
                </c:pt>
                <c:pt idx="57">
                  <c:v>41974</c:v>
                </c:pt>
                <c:pt idx="58">
                  <c:v>42005</c:v>
                </c:pt>
                <c:pt idx="59">
                  <c:v>42036</c:v>
                </c:pt>
                <c:pt idx="60">
                  <c:v>42064</c:v>
                </c:pt>
                <c:pt idx="61">
                  <c:v>42095</c:v>
                </c:pt>
                <c:pt idx="62">
                  <c:v>42125</c:v>
                </c:pt>
                <c:pt idx="63">
                  <c:v>42156</c:v>
                </c:pt>
                <c:pt idx="64">
                  <c:v>42186</c:v>
                </c:pt>
                <c:pt idx="65">
                  <c:v>42217</c:v>
                </c:pt>
                <c:pt idx="66">
                  <c:v>42248</c:v>
                </c:pt>
                <c:pt idx="67">
                  <c:v>42278</c:v>
                </c:pt>
                <c:pt idx="68">
                  <c:v>42309</c:v>
                </c:pt>
                <c:pt idx="69">
                  <c:v>42339</c:v>
                </c:pt>
                <c:pt idx="70">
                  <c:v>42370</c:v>
                </c:pt>
                <c:pt idx="71">
                  <c:v>42401</c:v>
                </c:pt>
                <c:pt idx="72">
                  <c:v>42430</c:v>
                </c:pt>
                <c:pt idx="73">
                  <c:v>42461</c:v>
                </c:pt>
                <c:pt idx="74">
                  <c:v>42491</c:v>
                </c:pt>
                <c:pt idx="75">
                  <c:v>42522</c:v>
                </c:pt>
                <c:pt idx="76">
                  <c:v>42552</c:v>
                </c:pt>
                <c:pt idx="77">
                  <c:v>42583</c:v>
                </c:pt>
                <c:pt idx="78">
                  <c:v>42614</c:v>
                </c:pt>
                <c:pt idx="79">
                  <c:v>42644</c:v>
                </c:pt>
                <c:pt idx="80">
                  <c:v>42675</c:v>
                </c:pt>
                <c:pt idx="81">
                  <c:v>42705</c:v>
                </c:pt>
                <c:pt idx="82">
                  <c:v>42736</c:v>
                </c:pt>
                <c:pt idx="83">
                  <c:v>42767</c:v>
                </c:pt>
                <c:pt idx="84">
                  <c:v>42795</c:v>
                </c:pt>
                <c:pt idx="85">
                  <c:v>42826</c:v>
                </c:pt>
                <c:pt idx="86">
                  <c:v>42856</c:v>
                </c:pt>
                <c:pt idx="87">
                  <c:v>42887</c:v>
                </c:pt>
                <c:pt idx="88">
                  <c:v>42917</c:v>
                </c:pt>
                <c:pt idx="89">
                  <c:v>42948</c:v>
                </c:pt>
                <c:pt idx="90">
                  <c:v>42979</c:v>
                </c:pt>
                <c:pt idx="91">
                  <c:v>43009</c:v>
                </c:pt>
                <c:pt idx="92">
                  <c:v>43040</c:v>
                </c:pt>
                <c:pt idx="93">
                  <c:v>43070</c:v>
                </c:pt>
                <c:pt idx="94">
                  <c:v>43101</c:v>
                </c:pt>
                <c:pt idx="95">
                  <c:v>43132</c:v>
                </c:pt>
                <c:pt idx="96">
                  <c:v>43160</c:v>
                </c:pt>
                <c:pt idx="97">
                  <c:v>43191</c:v>
                </c:pt>
                <c:pt idx="98">
                  <c:v>43221</c:v>
                </c:pt>
                <c:pt idx="99">
                  <c:v>43252</c:v>
                </c:pt>
                <c:pt idx="100">
                  <c:v>43282</c:v>
                </c:pt>
                <c:pt idx="101">
                  <c:v>43313</c:v>
                </c:pt>
                <c:pt idx="102">
                  <c:v>43344</c:v>
                </c:pt>
                <c:pt idx="103">
                  <c:v>43374</c:v>
                </c:pt>
                <c:pt idx="104">
                  <c:v>43405</c:v>
                </c:pt>
                <c:pt idx="105">
                  <c:v>43435</c:v>
                </c:pt>
                <c:pt idx="106">
                  <c:v>43466</c:v>
                </c:pt>
                <c:pt idx="107">
                  <c:v>43497</c:v>
                </c:pt>
                <c:pt idx="108">
                  <c:v>43525</c:v>
                </c:pt>
                <c:pt idx="109">
                  <c:v>43556</c:v>
                </c:pt>
                <c:pt idx="110">
                  <c:v>43586</c:v>
                </c:pt>
                <c:pt idx="111">
                  <c:v>43617</c:v>
                </c:pt>
                <c:pt idx="112">
                  <c:v>43647</c:v>
                </c:pt>
                <c:pt idx="113">
                  <c:v>43678</c:v>
                </c:pt>
                <c:pt idx="114">
                  <c:v>43709</c:v>
                </c:pt>
                <c:pt idx="115">
                  <c:v>43739</c:v>
                </c:pt>
                <c:pt idx="116">
                  <c:v>43770</c:v>
                </c:pt>
                <c:pt idx="117">
                  <c:v>43800</c:v>
                </c:pt>
                <c:pt idx="118">
                  <c:v>43831</c:v>
                </c:pt>
                <c:pt idx="119">
                  <c:v>43862</c:v>
                </c:pt>
                <c:pt idx="120">
                  <c:v>43891</c:v>
                </c:pt>
                <c:pt idx="121">
                  <c:v>43922</c:v>
                </c:pt>
                <c:pt idx="122">
                  <c:v>43952</c:v>
                </c:pt>
                <c:pt idx="123">
                  <c:v>43983</c:v>
                </c:pt>
                <c:pt idx="124">
                  <c:v>44013</c:v>
                </c:pt>
                <c:pt idx="125">
                  <c:v>44044</c:v>
                </c:pt>
                <c:pt idx="126">
                  <c:v>44075</c:v>
                </c:pt>
                <c:pt idx="127">
                  <c:v>44105</c:v>
                </c:pt>
                <c:pt idx="128">
                  <c:v>44136</c:v>
                </c:pt>
                <c:pt idx="129">
                  <c:v>44166</c:v>
                </c:pt>
                <c:pt idx="130">
                  <c:v>44197</c:v>
                </c:pt>
                <c:pt idx="131">
                  <c:v>44228</c:v>
                </c:pt>
                <c:pt idx="132">
                  <c:v>44256</c:v>
                </c:pt>
                <c:pt idx="133">
                  <c:v>44287</c:v>
                </c:pt>
                <c:pt idx="134">
                  <c:v>44317</c:v>
                </c:pt>
                <c:pt idx="135">
                  <c:v>44348</c:v>
                </c:pt>
                <c:pt idx="136">
                  <c:v>44378</c:v>
                </c:pt>
                <c:pt idx="137">
                  <c:v>44409</c:v>
                </c:pt>
                <c:pt idx="138">
                  <c:v>44440</c:v>
                </c:pt>
                <c:pt idx="139">
                  <c:v>44470</c:v>
                </c:pt>
                <c:pt idx="140">
                  <c:v>44501</c:v>
                </c:pt>
                <c:pt idx="141">
                  <c:v>44531</c:v>
                </c:pt>
                <c:pt idx="142">
                  <c:v>44562</c:v>
                </c:pt>
                <c:pt idx="143">
                  <c:v>44593</c:v>
                </c:pt>
                <c:pt idx="144">
                  <c:v>44621</c:v>
                </c:pt>
                <c:pt idx="145">
                  <c:v>44652</c:v>
                </c:pt>
                <c:pt idx="146">
                  <c:v>44682</c:v>
                </c:pt>
                <c:pt idx="147">
                  <c:v>44713</c:v>
                </c:pt>
                <c:pt idx="148">
                  <c:v>44743</c:v>
                </c:pt>
                <c:pt idx="149">
                  <c:v>44774</c:v>
                </c:pt>
                <c:pt idx="150">
                  <c:v>44805</c:v>
                </c:pt>
                <c:pt idx="151">
                  <c:v>44835</c:v>
                </c:pt>
                <c:pt idx="152">
                  <c:v>44866</c:v>
                </c:pt>
                <c:pt idx="153">
                  <c:v>44896</c:v>
                </c:pt>
                <c:pt idx="154">
                  <c:v>44927</c:v>
                </c:pt>
                <c:pt idx="155">
                  <c:v>44958</c:v>
                </c:pt>
                <c:pt idx="156">
                  <c:v>44986</c:v>
                </c:pt>
                <c:pt idx="157">
                  <c:v>45017</c:v>
                </c:pt>
                <c:pt idx="158">
                  <c:v>45047</c:v>
                </c:pt>
                <c:pt idx="159">
                  <c:v>45078</c:v>
                </c:pt>
                <c:pt idx="160">
                  <c:v>45108</c:v>
                </c:pt>
                <c:pt idx="161">
                  <c:v>45139</c:v>
                </c:pt>
                <c:pt idx="162">
                  <c:v>45170</c:v>
                </c:pt>
                <c:pt idx="163">
                  <c:v>45200</c:v>
                </c:pt>
              </c:numCache>
            </c:numRef>
          </c:cat>
          <c:val>
            <c:numRef>
              <c:f>'[Tasa de ocupacion.xlsx]AS'!$AM$8:$AM$171</c:f>
              <c:numCache>
                <c:formatCode>#,##0.00</c:formatCode>
                <c:ptCount val="164"/>
                <c:pt idx="0">
                  <c:v>15.239970318080402</c:v>
                </c:pt>
                <c:pt idx="1">
                  <c:v>15.744984501337356</c:v>
                </c:pt>
                <c:pt idx="2">
                  <c:v>15.85512658934389</c:v>
                </c:pt>
                <c:pt idx="3">
                  <c:v>16.183416648806613</c:v>
                </c:pt>
                <c:pt idx="4">
                  <c:v>16.365752768511548</c:v>
                </c:pt>
                <c:pt idx="5">
                  <c:v>16.602980348197867</c:v>
                </c:pt>
                <c:pt idx="6">
                  <c:v>16.95860594240937</c:v>
                </c:pt>
                <c:pt idx="7">
                  <c:v>16.968942177622644</c:v>
                </c:pt>
                <c:pt idx="8">
                  <c:v>17.116418513141802</c:v>
                </c:pt>
                <c:pt idx="9">
                  <c:v>17.029466799512882</c:v>
                </c:pt>
                <c:pt idx="10">
                  <c:v>16.896262477781889</c:v>
                </c:pt>
                <c:pt idx="11">
                  <c:v>16.584492619331122</c:v>
                </c:pt>
                <c:pt idx="12">
                  <c:v>16.596525335149444</c:v>
                </c:pt>
                <c:pt idx="13">
                  <c:v>16.902007224380597</c:v>
                </c:pt>
                <c:pt idx="14">
                  <c:v>17.191331329595378</c:v>
                </c:pt>
                <c:pt idx="15">
                  <c:v>17.518454605308385</c:v>
                </c:pt>
                <c:pt idx="16">
                  <c:v>17.204774522883596</c:v>
                </c:pt>
                <c:pt idx="17">
                  <c:v>17.218415389512892</c:v>
                </c:pt>
                <c:pt idx="18">
                  <c:v>17.280006855018115</c:v>
                </c:pt>
                <c:pt idx="19">
                  <c:v>17.207087822344846</c:v>
                </c:pt>
                <c:pt idx="20">
                  <c:v>17.012807855113138</c:v>
                </c:pt>
                <c:pt idx="21">
                  <c:v>16.499346357540681</c:v>
                </c:pt>
                <c:pt idx="22">
                  <c:v>16.152297614601942</c:v>
                </c:pt>
                <c:pt idx="23">
                  <c:v>16.073220462375843</c:v>
                </c:pt>
                <c:pt idx="24">
                  <c:v>16.135845303833911</c:v>
                </c:pt>
                <c:pt idx="25">
                  <c:v>16.250658527749529</c:v>
                </c:pt>
                <c:pt idx="26">
                  <c:v>16.295213906282157</c:v>
                </c:pt>
                <c:pt idx="27">
                  <c:v>16.219722143487985</c:v>
                </c:pt>
                <c:pt idx="28">
                  <c:v>16.217891627551744</c:v>
                </c:pt>
                <c:pt idx="29">
                  <c:v>16.338505375827857</c:v>
                </c:pt>
                <c:pt idx="30">
                  <c:v>16.567708498133818</c:v>
                </c:pt>
                <c:pt idx="31">
                  <c:v>16.641733534419295</c:v>
                </c:pt>
                <c:pt idx="32">
                  <c:v>16.508729801878076</c:v>
                </c:pt>
                <c:pt idx="33">
                  <c:v>16.213198787235427</c:v>
                </c:pt>
                <c:pt idx="34">
                  <c:v>15.894360694246039</c:v>
                </c:pt>
                <c:pt idx="35">
                  <c:v>15.599927927022257</c:v>
                </c:pt>
                <c:pt idx="36">
                  <c:v>15.755871053108052</c:v>
                </c:pt>
                <c:pt idx="37">
                  <c:v>16.027542217088673</c:v>
                </c:pt>
                <c:pt idx="38">
                  <c:v>16.254778971892051</c:v>
                </c:pt>
                <c:pt idx="39">
                  <c:v>16.387134665348391</c:v>
                </c:pt>
                <c:pt idx="40">
                  <c:v>16.38929901259575</c:v>
                </c:pt>
                <c:pt idx="41">
                  <c:v>16.51355113523757</c:v>
                </c:pt>
                <c:pt idx="42">
                  <c:v>16.585555765827976</c:v>
                </c:pt>
                <c:pt idx="43">
                  <c:v>16.563290013052956</c:v>
                </c:pt>
                <c:pt idx="44">
                  <c:v>16.549582461493976</c:v>
                </c:pt>
                <c:pt idx="45">
                  <c:v>16.537785898581909</c:v>
                </c:pt>
                <c:pt idx="46">
                  <c:v>16.359206252494893</c:v>
                </c:pt>
                <c:pt idx="47">
                  <c:v>16.399375847297406</c:v>
                </c:pt>
                <c:pt idx="48">
                  <c:v>16.452112537490329</c:v>
                </c:pt>
                <c:pt idx="49">
                  <c:v>16.77836535792278</c:v>
                </c:pt>
                <c:pt idx="50">
                  <c:v>16.948507003987807</c:v>
                </c:pt>
                <c:pt idx="51">
                  <c:v>16.900268203369265</c:v>
                </c:pt>
                <c:pt idx="52">
                  <c:v>16.716463157400533</c:v>
                </c:pt>
                <c:pt idx="53">
                  <c:v>16.491561783368901</c:v>
                </c:pt>
                <c:pt idx="54">
                  <c:v>16.747838496109786</c:v>
                </c:pt>
                <c:pt idx="55">
                  <c:v>16.932378540629372</c:v>
                </c:pt>
                <c:pt idx="56">
                  <c:v>17.029399567863344</c:v>
                </c:pt>
                <c:pt idx="57">
                  <c:v>16.584949556735758</c:v>
                </c:pt>
                <c:pt idx="58">
                  <c:v>16.179371540824235</c:v>
                </c:pt>
                <c:pt idx="59">
                  <c:v>15.975208248673553</c:v>
                </c:pt>
                <c:pt idx="60">
                  <c:v>15.910465088355814</c:v>
                </c:pt>
                <c:pt idx="61">
                  <c:v>16.252623106757149</c:v>
                </c:pt>
                <c:pt idx="62">
                  <c:v>16.402110527381566</c:v>
                </c:pt>
                <c:pt idx="63">
                  <c:v>16.539130069552336</c:v>
                </c:pt>
                <c:pt idx="64">
                  <c:v>16.585263087559824</c:v>
                </c:pt>
                <c:pt idx="65">
                  <c:v>16.727774470511868</c:v>
                </c:pt>
                <c:pt idx="66">
                  <c:v>16.846061662162022</c:v>
                </c:pt>
                <c:pt idx="67">
                  <c:v>16.858536617922688</c:v>
                </c:pt>
                <c:pt idx="68">
                  <c:v>16.971845268548442</c:v>
                </c:pt>
                <c:pt idx="69">
                  <c:v>16.848564287130813</c:v>
                </c:pt>
                <c:pt idx="70">
                  <c:v>16.658213403080175</c:v>
                </c:pt>
                <c:pt idx="71">
                  <c:v>16.219963995472064</c:v>
                </c:pt>
                <c:pt idx="72">
                  <c:v>16.397689528080903</c:v>
                </c:pt>
                <c:pt idx="73">
                  <c:v>16.630366837166179</c:v>
                </c:pt>
                <c:pt idx="74">
                  <c:v>16.900371188216276</c:v>
                </c:pt>
                <c:pt idx="75">
                  <c:v>16.904365032841504</c:v>
                </c:pt>
                <c:pt idx="76">
                  <c:v>17.101515903279122</c:v>
                </c:pt>
                <c:pt idx="77">
                  <c:v>17.065504390644847</c:v>
                </c:pt>
                <c:pt idx="78">
                  <c:v>17.211962361203987</c:v>
                </c:pt>
                <c:pt idx="79">
                  <c:v>17.267524131848617</c:v>
                </c:pt>
                <c:pt idx="80">
                  <c:v>17.343460282212924</c:v>
                </c:pt>
                <c:pt idx="81">
                  <c:v>17.306571398065536</c:v>
                </c:pt>
                <c:pt idx="82">
                  <c:v>17.402786306360575</c:v>
                </c:pt>
                <c:pt idx="83">
                  <c:v>17.283922420408921</c:v>
                </c:pt>
                <c:pt idx="84">
                  <c:v>17.11515559657348</c:v>
                </c:pt>
                <c:pt idx="85">
                  <c:v>16.957088760917181</c:v>
                </c:pt>
                <c:pt idx="86">
                  <c:v>17.176497722448225</c:v>
                </c:pt>
                <c:pt idx="87">
                  <c:v>17.154117421550239</c:v>
                </c:pt>
                <c:pt idx="88">
                  <c:v>17.437295055172257</c:v>
                </c:pt>
                <c:pt idx="89">
                  <c:v>17.547655936428413</c:v>
                </c:pt>
                <c:pt idx="90">
                  <c:v>17.910905152626086</c:v>
                </c:pt>
                <c:pt idx="91">
                  <c:v>17.820419571387639</c:v>
                </c:pt>
                <c:pt idx="92">
                  <c:v>17.80488148311202</c:v>
                </c:pt>
                <c:pt idx="93">
                  <c:v>17.644244648591211</c:v>
                </c:pt>
                <c:pt idx="94">
                  <c:v>17.535682962686529</c:v>
                </c:pt>
                <c:pt idx="95">
                  <c:v>17.180966402266328</c:v>
                </c:pt>
                <c:pt idx="96">
                  <c:v>17.271666393724935</c:v>
                </c:pt>
                <c:pt idx="97">
                  <c:v>17.223056838045238</c:v>
                </c:pt>
                <c:pt idx="98">
                  <c:v>17.372045796445008</c:v>
                </c:pt>
                <c:pt idx="99">
                  <c:v>17.022379630504204</c:v>
                </c:pt>
                <c:pt idx="100">
                  <c:v>16.849509033352135</c:v>
                </c:pt>
                <c:pt idx="101">
                  <c:v>16.840676711211593</c:v>
                </c:pt>
                <c:pt idx="102">
                  <c:v>17.064269904217902</c:v>
                </c:pt>
                <c:pt idx="103">
                  <c:v>17.34361153012847</c:v>
                </c:pt>
                <c:pt idx="104">
                  <c:v>17.617903398425156</c:v>
                </c:pt>
                <c:pt idx="105">
                  <c:v>17.34514615728947</c:v>
                </c:pt>
                <c:pt idx="106">
                  <c:v>17.135211167315134</c:v>
                </c:pt>
                <c:pt idx="107">
                  <c:v>16.988643299483591</c:v>
                </c:pt>
                <c:pt idx="108">
                  <c:v>16.920675092608384</c:v>
                </c:pt>
                <c:pt idx="109">
                  <c:v>17.223654472716809</c:v>
                </c:pt>
                <c:pt idx="110">
                  <c:v>17.297832359584071</c:v>
                </c:pt>
                <c:pt idx="111">
                  <c:v>17.337871672443256</c:v>
                </c:pt>
                <c:pt idx="112">
                  <c:v>16.971025841071516</c:v>
                </c:pt>
                <c:pt idx="113">
                  <c:v>17.027724474303014</c:v>
                </c:pt>
                <c:pt idx="114">
                  <c:v>17.335410187827335</c:v>
                </c:pt>
                <c:pt idx="115">
                  <c:v>17.328265279453426</c:v>
                </c:pt>
                <c:pt idx="116">
                  <c:v>17.086491360911992</c:v>
                </c:pt>
                <c:pt idx="117">
                  <c:v>16.986977277756132</c:v>
                </c:pt>
                <c:pt idx="118">
                  <c:v>16.750824676960342</c:v>
                </c:pt>
                <c:pt idx="119">
                  <c:v>16.277730904349006</c:v>
                </c:pt>
                <c:pt idx="120">
                  <c:v>15.81516373927191</c:v>
                </c:pt>
                <c:pt idx="121">
                  <c:v>13.540026753026815</c:v>
                </c:pt>
                <c:pt idx="122">
                  <c:v>11.661493907563411</c:v>
                </c:pt>
                <c:pt idx="123">
                  <c:v>10.791130394511498</c:v>
                </c:pt>
                <c:pt idx="124">
                  <c:v>10.874261181710459</c:v>
                </c:pt>
                <c:pt idx="125">
                  <c:v>11.048612865891258</c:v>
                </c:pt>
                <c:pt idx="126">
                  <c:v>11.621919134377535</c:v>
                </c:pt>
                <c:pt idx="127">
                  <c:v>12.418230866920652</c:v>
                </c:pt>
                <c:pt idx="128">
                  <c:v>13.198710050216356</c:v>
                </c:pt>
                <c:pt idx="129">
                  <c:v>13.28449307306844</c:v>
                </c:pt>
                <c:pt idx="130">
                  <c:v>13.406966639784493</c:v>
                </c:pt>
                <c:pt idx="131">
                  <c:v>13.57255673184364</c:v>
                </c:pt>
                <c:pt idx="132">
                  <c:v>13.687706283417562</c:v>
                </c:pt>
                <c:pt idx="133">
                  <c:v>13.655383298443581</c:v>
                </c:pt>
                <c:pt idx="134">
                  <c:v>13.636016792720504</c:v>
                </c:pt>
                <c:pt idx="135">
                  <c:v>13.554545774734024</c:v>
                </c:pt>
                <c:pt idx="136">
                  <c:v>13.972703173132068</c:v>
                </c:pt>
                <c:pt idx="137">
                  <c:v>14.239490833707322</c:v>
                </c:pt>
                <c:pt idx="138">
                  <c:v>14.519904913591319</c:v>
                </c:pt>
                <c:pt idx="139">
                  <c:v>14.911192842609644</c:v>
                </c:pt>
                <c:pt idx="140">
                  <c:v>15.109205500118961</c:v>
                </c:pt>
                <c:pt idx="141">
                  <c:v>15.24566819640949</c:v>
                </c:pt>
                <c:pt idx="142">
                  <c:v>14.908732594597851</c:v>
                </c:pt>
                <c:pt idx="143">
                  <c:v>14.480229345965299</c:v>
                </c:pt>
                <c:pt idx="144">
                  <c:v>14.535659164643242</c:v>
                </c:pt>
                <c:pt idx="145">
                  <c:v>14.765090611013306</c:v>
                </c:pt>
                <c:pt idx="146">
                  <c:v>15.341237350763997</c:v>
                </c:pt>
                <c:pt idx="147">
                  <c:v>15.118059846900806</c:v>
                </c:pt>
                <c:pt idx="148">
                  <c:v>14.977105546660972</c:v>
                </c:pt>
                <c:pt idx="149">
                  <c:v>14.979972909944308</c:v>
                </c:pt>
                <c:pt idx="150">
                  <c:v>15.123509731782455</c:v>
                </c:pt>
                <c:pt idx="151">
                  <c:v>15.177196027010766</c:v>
                </c:pt>
                <c:pt idx="152">
                  <c:v>14.79674550261754</c:v>
                </c:pt>
                <c:pt idx="153">
                  <c:v>14.909693128230565</c:v>
                </c:pt>
                <c:pt idx="154">
                  <c:v>14.771919979375774</c:v>
                </c:pt>
                <c:pt idx="155">
                  <c:v>14.783374160058443</c:v>
                </c:pt>
                <c:pt idx="156">
                  <c:v>14.786033541088202</c:v>
                </c:pt>
                <c:pt idx="157">
                  <c:v>14.993374711306544</c:v>
                </c:pt>
                <c:pt idx="158">
                  <c:v>15.072923294482507</c:v>
                </c:pt>
                <c:pt idx="159">
                  <c:v>15.035252950629669</c:v>
                </c:pt>
                <c:pt idx="160">
                  <c:v>14.941864261057447</c:v>
                </c:pt>
                <c:pt idx="161">
                  <c:v>14.908902188381681</c:v>
                </c:pt>
                <c:pt idx="162">
                  <c:v>14.997527941012237</c:v>
                </c:pt>
                <c:pt idx="163">
                  <c:v>15.10369093942429</c:v>
                </c:pt>
              </c:numCache>
            </c:numRef>
          </c:val>
          <c:smooth val="0"/>
          <c:extLst>
            <c:ext xmlns:c16="http://schemas.microsoft.com/office/drawing/2014/chart" uri="{C3380CC4-5D6E-409C-BE32-E72D297353CC}">
              <c16:uniqueId val="{00000000-9AE4-49C6-8DC8-A38D99414984}"/>
            </c:ext>
          </c:extLst>
        </c:ser>
        <c:dLbls>
          <c:showLegendKey val="0"/>
          <c:showVal val="0"/>
          <c:showCatName val="0"/>
          <c:showSerName val="0"/>
          <c:showPercent val="0"/>
          <c:showBubbleSize val="0"/>
        </c:dLbls>
        <c:smooth val="0"/>
        <c:axId val="776749888"/>
        <c:axId val="776285472"/>
      </c:lineChart>
      <c:dateAx>
        <c:axId val="776749888"/>
        <c:scaling>
          <c:orientation val="minMax"/>
          <c:min val="40330"/>
        </c:scaling>
        <c:delete val="0"/>
        <c:axPos val="b"/>
        <c:numFmt formatCode="mmm\-yy" sourceLinked="0"/>
        <c:majorTickMark val="none"/>
        <c:minorTickMark val="none"/>
        <c:tickLblPos val="low"/>
        <c:spPr>
          <a:noFill/>
          <a:ln w="9525" cap="flat" cmpd="sng" algn="ctr">
            <a:solidFill>
              <a:srgbClr val="000000"/>
            </a:solidFill>
            <a:round/>
          </a:ln>
          <a:effectLst/>
        </c:spPr>
        <c:txPr>
          <a:bodyPr rot="-5400000" spcFirstLastPara="1" vertOverflow="ellipsis" wrap="square" anchor="ctr" anchorCtr="1"/>
          <a:lstStyle/>
          <a:p>
            <a:pPr>
              <a:defRPr sz="1200" b="0" i="0" u="none" strike="noStrike" kern="1200" baseline="0">
                <a:solidFill>
                  <a:srgbClr val="000000"/>
                </a:solidFill>
                <a:latin typeface="GobCL"/>
                <a:ea typeface="Helvetica"/>
                <a:cs typeface="Helvetica"/>
              </a:defRPr>
            </a:pPr>
            <a:endParaRPr lang="es-CL"/>
          </a:p>
        </c:txPr>
        <c:crossAx val="776285472"/>
        <c:crosses val="autoZero"/>
        <c:auto val="1"/>
        <c:lblOffset val="100"/>
        <c:baseTimeUnit val="months"/>
      </c:dateAx>
      <c:valAx>
        <c:axId val="776285472"/>
        <c:scaling>
          <c:orientation val="minMax"/>
          <c:min val="8"/>
        </c:scaling>
        <c:delete val="0"/>
        <c:axPos val="l"/>
        <c:majorGridlines>
          <c:spPr>
            <a:ln w="9525" cap="flat" cmpd="sng" algn="ctr">
              <a:solidFill>
                <a:sysClr val="window" lastClr="FFFFFF">
                  <a:lumMod val="65000"/>
                </a:sysClr>
              </a:solidFill>
              <a:prstDash val="solid"/>
              <a:round/>
              <a:headEnd type="none" w="med" len="med"/>
              <a:tailEnd type="none" w="med" len="me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rgbClr val="000000"/>
                </a:solidFill>
                <a:latin typeface="GobCL"/>
                <a:ea typeface="Helvetica"/>
                <a:cs typeface="Helvetica"/>
              </a:defRPr>
            </a:pPr>
            <a:endParaRPr lang="es-CL"/>
          </a:p>
        </c:txPr>
        <c:crossAx val="7767498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a:extLst>
      <a:ext uri="{909E8E84-426E-40DD-AFC4-6F175D3DCCD1}">
        <a14:hiddenFill xmlns:a14="http://schemas.microsoft.com/office/drawing/2010/main">
          <a:solidFill>
            <a:sysClr val="window" lastClr="FFFFFF"/>
          </a:solidFill>
        </a14:hiddenFill>
      </a:ex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txPr>
    <a:bodyPr/>
    <a:lstStyle/>
    <a:p>
      <a:pPr>
        <a:defRPr sz="1200">
          <a:solidFill>
            <a:srgbClr val="000000"/>
          </a:solidFill>
          <a:latin typeface="GobCL"/>
          <a:ea typeface="Helvetica"/>
          <a:cs typeface="Helvetica"/>
        </a:defRPr>
      </a:pPr>
      <a:endParaRPr lang="es-C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15.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16.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117_A0057CAA.xml><?xml version="1.0" encoding="utf-8"?>
<p188:cmLst xmlns:a="http://schemas.openxmlformats.org/drawingml/2006/main" xmlns:r="http://schemas.openxmlformats.org/officeDocument/2006/relationships" xmlns:p188="http://schemas.microsoft.com/office/powerpoint/2018/8/main">
  <p188:cm id="{3E7484C8-E0C9-4883-B1B4-71082673AE2E}" authorId="{9E71572F-067F-9956-3071-A19D2FDF6333}" status="resolved" created="2023-12-10T14:42:39.223" complete="100000">
    <ac:txMkLst xmlns:ac="http://schemas.microsoft.com/office/drawing/2013/main/command">
      <pc:docMk xmlns:pc="http://schemas.microsoft.com/office/powerpoint/2013/main/command"/>
      <pc:sldMk xmlns:pc="http://schemas.microsoft.com/office/powerpoint/2013/main/command" cId="2684714154" sldId="279"/>
      <ac:spMk id="10" creationId="{D4F7E8F5-E4BD-4C84-9193-C9A4821F1140}"/>
      <ac:txMk cp="75" len="31">
        <ac:context len="172" hash="1386092632"/>
      </ac:txMk>
    </ac:txMkLst>
    <p188:pos x="8889459" y="317101"/>
    <p188:replyLst>
      <p188:reply id="{A49C532A-BD3F-4A9B-92A9-0264CB8FCF3D}" authorId="{987654E0-A57F-1C7B-7845-D80CFAA8D3A9}" created="2023-12-10T17:36:27.514">
        <p188:txBody>
          <a:bodyPr/>
          <a:lstStyle/>
          <a:p>
            <a:r>
              <a:rPr lang="en-US"/>
              <a:t>corregido</a:t>
            </a:r>
          </a:p>
        </p188:txBody>
      </p188:reply>
      <p188:reply id="{74DE9C3D-0B25-4C29-8B28-AAAE0FA9696E}" authorId="{9E71572F-067F-9956-3071-A19D2FDF6333}" created="2023-12-10T19:50:33.882">
        <p188:txBody>
          <a:bodyPr/>
          <a:lstStyle/>
          <a:p>
            <a:r>
              <a:rPr lang="es-ES"/>
              <a:t>Hice una redacción más general, porque aporte de bienestar y bono especial tienen otro porcentaje</a:t>
            </a:r>
          </a:p>
        </p188:txBody>
      </p188:reply>
    </p188:replyLst>
    <p188:txBody>
      <a:bodyPr/>
      <a:lstStyle/>
      <a:p>
        <a:r>
          <a:rPr lang="es-ES"/>
          <a:t>Revisar, no se mantienen los valores de los bonos</a:t>
        </a:r>
      </a:p>
    </p188:txBody>
  </p188:cm>
</p188:cmLst>
</file>

<file path=ppt/comments/modernComment_29BC_9CB21FE4.xml><?xml version="1.0" encoding="utf-8"?>
<p188:cmLst xmlns:a="http://schemas.openxmlformats.org/drawingml/2006/main" xmlns:r="http://schemas.openxmlformats.org/officeDocument/2006/relationships" xmlns:p188="http://schemas.microsoft.com/office/powerpoint/2018/8/main">
  <p188:cm id="{6A5CB83C-D228-46C6-90BB-D05A724F155B}" authorId="{291A5625-93C2-D7A3-4739-193E01F6BF8E}" status="resolved" created="2023-12-11T17:50:49.231" complete="100000">
    <pc:sldMkLst xmlns:pc="http://schemas.microsoft.com/office/powerpoint/2013/main/command">
      <pc:docMk/>
      <pc:sldMk cId="2628919268" sldId="10684"/>
    </pc:sldMkLst>
    <p188:txBody>
      <a:bodyPr/>
      <a:lstStyle/>
      <a:p>
        <a:r>
          <a:rPr lang="es-ES"/>
          <a:t>[@Milena Martinez Valenzuela] está corrido el número de la página</a:t>
        </a:r>
      </a:p>
    </p188:txBody>
    <p188:extLst>
      <p:ext xmlns:p="http://schemas.openxmlformats.org/presentationml/2006/main" uri="{57CB4572-C831-44C2-8A1C-0ADB6CCDFE69}">
        <p223:reactions xmlns:p223="http://schemas.microsoft.com/office/powerpoint/2022/03/main">
          <p223:rxn type="👍">
            <p223:instance time="2023-12-11T19:07:16.598" authorId="{700EB66C-DFE3-1F0E-6F9E-48BD05793B7A}"/>
          </p223:rxn>
        </p223:reactions>
      </p:ext>
    </p188:extLst>
  </p188:cm>
</p188:cmLst>
</file>

<file path=ppt/comments/modernComment_7FFFCF8D_779EBAE3.xml><?xml version="1.0" encoding="utf-8"?>
<p188:cmLst xmlns:a="http://schemas.openxmlformats.org/drawingml/2006/main" xmlns:r="http://schemas.openxmlformats.org/officeDocument/2006/relationships" xmlns:p188="http://schemas.microsoft.com/office/powerpoint/2018/8/main">
  <p188:cm id="{B8CF29A8-6637-4133-87C0-C7423378BDA6}" authorId="{9E71572F-067F-9956-3071-A19D2FDF6333}" status="resolved" created="2023-12-10T15:14:52.066" complete="100000">
    <pc:sldMkLst xmlns:pc="http://schemas.microsoft.com/office/powerpoint/2013/main/command">
      <pc:docMk/>
      <pc:sldMk cId="2006891235" sldId="2147471245"/>
    </pc:sldMkLst>
    <p188:txBody>
      <a:bodyPr/>
      <a:lstStyle/>
      <a:p>
        <a:r>
          <a:rPr lang="es-ES"/>
          <a:t>Hay que eliminar de acá lo que ya fue mencionado en la parte anterior (renovación por una vez e ingresos mínimos)
Bono asistentes de la educación no sé a qué se refiere. Es un bono nuevo que se establece, o es lo mismo que ajustamos al auxiliar de sector público, pero que ya existía? De ser lo segundo, mencionar en la sección anterior.</a:t>
        </a:r>
      </a:p>
    </p188:txBody>
  </p188:cm>
</p188:cmLst>
</file>

<file path=ppt/comments/modernComment_7FFFCF99_35FB6AB8.xml><?xml version="1.0" encoding="utf-8"?>
<p188:cmLst xmlns:a="http://schemas.openxmlformats.org/drawingml/2006/main" xmlns:r="http://schemas.openxmlformats.org/officeDocument/2006/relationships" xmlns:p188="http://schemas.microsoft.com/office/powerpoint/2018/8/main">
  <p188:cm id="{BB051470-6B4C-4E92-BF0E-93C19957AC30}" authorId="{9F85250A-3116-9702-D679-87B775BDD7FD}" status="resolved" created="2023-12-05T15:38:10.840" complete="100000">
    <ac:txMkLst xmlns:ac="http://schemas.microsoft.com/office/drawing/2013/main/command">
      <pc:docMk xmlns:pc="http://schemas.microsoft.com/office/powerpoint/2013/main/command"/>
      <pc:sldMk xmlns:pc="http://schemas.microsoft.com/office/powerpoint/2013/main/command" cId="905669304" sldId="2147471257"/>
      <ac:spMk id="3" creationId="{00000000-0000-0000-0000-000000000000}"/>
      <ac:txMk cp="3" len="45">
        <ac:context len="501" hash="2011193418"/>
      </ac:txMk>
    </ac:txMkLst>
    <p188:pos x="5000799" y="263188"/>
    <p188:replyLst>
      <p188:reply id="{15C4AFB5-F471-4648-8538-9588406F0EB1}" authorId="{9E71572F-067F-9956-3071-A19D2FDF6333}" created="2023-12-10T15:02:37.603">
        <p188:txBody>
          <a:bodyPr/>
          <a:lstStyle/>
          <a:p>
            <a:r>
              <a:rPr lang="es-ES"/>
              <a:t>Revisar las numeraciones. Debería ser 2. planes de retiro</a:t>
            </a:r>
          </a:p>
        </p188:txBody>
      </p188:reply>
    </p188:replyLst>
    <p188:txBody>
      <a:bodyPr/>
      <a:lstStyle/>
      <a:p>
        <a:r>
          <a:rPr lang="es-CL"/>
          <a:t>Actualizar</a:t>
        </a:r>
      </a:p>
    </p188:txBody>
  </p188:cm>
</p188:cmLst>
</file>

<file path=ppt/drawings/drawing1.xml><?xml version="1.0" encoding="utf-8"?>
<c:userShapes xmlns:c="http://schemas.openxmlformats.org/drawingml/2006/chart">
  <cdr:relSizeAnchor xmlns:cdr="http://schemas.openxmlformats.org/drawingml/2006/chartDrawing">
    <cdr:from>
      <cdr:x>0.41288</cdr:x>
      <cdr:y>0.27174</cdr:y>
    </cdr:from>
    <cdr:to>
      <cdr:x>0.73901</cdr:x>
      <cdr:y>0.66492</cdr:y>
    </cdr:to>
    <cdr:cxnSp macro="">
      <cdr:nvCxnSpPr>
        <cdr:cNvPr id="3" name="Conector recto de flecha 2">
          <a:extLst xmlns:a="http://schemas.openxmlformats.org/drawingml/2006/main">
            <a:ext uri="{FF2B5EF4-FFF2-40B4-BE49-F238E27FC236}">
              <a16:creationId xmlns:a16="http://schemas.microsoft.com/office/drawing/2014/main" id="{9E3F2E27-9DFA-B32F-C6BF-C4EE9DC6BBF3}"/>
            </a:ext>
          </a:extLst>
        </cdr:cNvPr>
        <cdr:cNvCxnSpPr/>
      </cdr:nvCxnSpPr>
      <cdr:spPr>
        <a:xfrm xmlns:a="http://schemas.openxmlformats.org/drawingml/2006/main">
          <a:off x="2229574" y="1271749"/>
          <a:ext cx="1761067" cy="1840089"/>
        </a:xfrm>
        <a:prstGeom xmlns:a="http://schemas.openxmlformats.org/drawingml/2006/main" prst="straightConnector1">
          <a:avLst/>
        </a:prstGeom>
        <a:ln xmlns:a="http://schemas.openxmlformats.org/drawingml/2006/main" w="22225">
          <a:solidFill>
            <a:srgbClr val="C00000"/>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57562</cdr:x>
      <cdr:y>0.37313</cdr:y>
    </cdr:from>
    <cdr:to>
      <cdr:x>0.73084</cdr:x>
      <cdr:y>0.43215</cdr:y>
    </cdr:to>
    <cdr:sp macro="" textlink="">
      <cdr:nvSpPr>
        <cdr:cNvPr id="7" name="CuadroTexto 1">
          <a:extLst xmlns:a="http://schemas.openxmlformats.org/drawingml/2006/main">
            <a:ext uri="{FF2B5EF4-FFF2-40B4-BE49-F238E27FC236}">
              <a16:creationId xmlns:a16="http://schemas.microsoft.com/office/drawing/2014/main" id="{B52042A1-3B70-0ACD-6F25-23D66783AF3E}"/>
            </a:ext>
          </a:extLst>
        </cdr:cNvPr>
        <cdr:cNvSpPr txBox="1"/>
      </cdr:nvSpPr>
      <cdr:spPr>
        <a:xfrm xmlns:a="http://schemas.openxmlformats.org/drawingml/2006/main">
          <a:off x="3108325" y="1746250"/>
          <a:ext cx="838200" cy="276225"/>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s-CL" sz="1100" b="1">
              <a:solidFill>
                <a:srgbClr val="C00000"/>
              </a:solidFill>
              <a:latin typeface="gobCL" pitchFamily="50" charset="0"/>
            </a:rPr>
            <a:t>-</a:t>
          </a:r>
          <a:r>
            <a:rPr lang="es-CL" sz="1100" b="1" baseline="0">
              <a:solidFill>
                <a:srgbClr val="C00000"/>
              </a:solidFill>
              <a:latin typeface="gobCL" pitchFamily="50" charset="0"/>
            </a:rPr>
            <a:t> 9,3</a:t>
          </a:r>
          <a:r>
            <a:rPr lang="es-CL" sz="1100" b="1">
              <a:solidFill>
                <a:srgbClr val="C00000"/>
              </a:solidFill>
              <a:latin typeface="gobCL" pitchFamily="50" charset="0"/>
            </a:rPr>
            <a:t> pp.</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s-CL"/>
          </a:p>
        </p:txBody>
      </p:sp>
      <p:sp>
        <p:nvSpPr>
          <p:cNvPr id="3" name="Marcador de fecha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B46C5749-3726-4ECC-8B2F-9D1190F12910}" type="datetimeFigureOut">
              <a:rPr lang="es-CL" smtClean="0"/>
              <a:t>12-12-2023</a:t>
            </a:fld>
            <a:endParaRPr lang="es-CL"/>
          </a:p>
        </p:txBody>
      </p:sp>
      <p:sp>
        <p:nvSpPr>
          <p:cNvPr id="4" name="Marcador de imagen de diapositiva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s-CL"/>
          </a:p>
        </p:txBody>
      </p:sp>
      <p:sp>
        <p:nvSpPr>
          <p:cNvPr id="5" name="Marcador de notas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L"/>
          </a:p>
        </p:txBody>
      </p:sp>
      <p:sp>
        <p:nvSpPr>
          <p:cNvPr id="6" name="Marcador de pie de página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s-CL"/>
          </a:p>
        </p:txBody>
      </p:sp>
      <p:sp>
        <p:nvSpPr>
          <p:cNvPr id="7" name="Marcador de número de diapositiva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6BD66855-50F1-4DB1-973D-6459FBD924F5}" type="slidenum">
              <a:rPr lang="es-CL" smtClean="0"/>
              <a:t>‹Nº›</a:t>
            </a:fld>
            <a:endParaRPr lang="es-CL"/>
          </a:p>
        </p:txBody>
      </p:sp>
    </p:spTree>
    <p:extLst>
      <p:ext uri="{BB962C8B-B14F-4D97-AF65-F5344CB8AC3E}">
        <p14:creationId xmlns:p14="http://schemas.microsoft.com/office/powerpoint/2010/main" val="14935191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a:p>
        </p:txBody>
      </p:sp>
      <p:sp>
        <p:nvSpPr>
          <p:cNvPr id="4" name="Marcador de número de diapositiva 3"/>
          <p:cNvSpPr>
            <a:spLocks noGrp="1"/>
          </p:cNvSpPr>
          <p:nvPr>
            <p:ph type="sldNum" sz="quarter" idx="5"/>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C1BA1044-0A56-495C-9243-BB1D23EEAE4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80411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a:p>
        </p:txBody>
      </p:sp>
      <p:sp>
        <p:nvSpPr>
          <p:cNvPr id="4" name="Marcador de número de diapositiva 3"/>
          <p:cNvSpPr>
            <a:spLocks noGrp="1"/>
          </p:cNvSpPr>
          <p:nvPr>
            <p:ph type="sldNum" sz="quarter" idx="5"/>
          </p:nvPr>
        </p:nvSpPr>
        <p:spPr/>
        <p:txBody>
          <a:bodyPr/>
          <a:lstStyle/>
          <a:p>
            <a:fld id="{6BD66855-50F1-4DB1-973D-6459FBD924F5}" type="slidenum">
              <a:rPr lang="es-CL" smtClean="0"/>
              <a:t>17</a:t>
            </a:fld>
            <a:endParaRPr lang="es-CL"/>
          </a:p>
        </p:txBody>
      </p:sp>
    </p:spTree>
    <p:extLst>
      <p:ext uri="{BB962C8B-B14F-4D97-AF65-F5344CB8AC3E}">
        <p14:creationId xmlns:p14="http://schemas.microsoft.com/office/powerpoint/2010/main" val="11883561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a:p>
        </p:txBody>
      </p:sp>
      <p:sp>
        <p:nvSpPr>
          <p:cNvPr id="4" name="Marcador de número de diapositiva 3"/>
          <p:cNvSpPr>
            <a:spLocks noGrp="1"/>
          </p:cNvSpPr>
          <p:nvPr>
            <p:ph type="sldNum" sz="quarter" idx="5"/>
          </p:nvPr>
        </p:nvSpPr>
        <p:spPr/>
        <p:txBody>
          <a:bodyPr/>
          <a:lstStyle/>
          <a:p>
            <a:fld id="{6BD66855-50F1-4DB1-973D-6459FBD924F5}" type="slidenum">
              <a:rPr lang="es-CL" smtClean="0"/>
              <a:t>18</a:t>
            </a:fld>
            <a:endParaRPr lang="es-CL"/>
          </a:p>
        </p:txBody>
      </p:sp>
    </p:spTree>
    <p:extLst>
      <p:ext uri="{BB962C8B-B14F-4D97-AF65-F5344CB8AC3E}">
        <p14:creationId xmlns:p14="http://schemas.microsoft.com/office/powerpoint/2010/main" val="31524039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a:p>
        </p:txBody>
      </p:sp>
      <p:sp>
        <p:nvSpPr>
          <p:cNvPr id="4" name="Marcador de número de diapositiva 3"/>
          <p:cNvSpPr>
            <a:spLocks noGrp="1"/>
          </p:cNvSpPr>
          <p:nvPr>
            <p:ph type="sldNum" sz="quarter" idx="5"/>
          </p:nvPr>
        </p:nvSpPr>
        <p:spPr/>
        <p:txBody>
          <a:bodyPr/>
          <a:lstStyle/>
          <a:p>
            <a:fld id="{6BD66855-50F1-4DB1-973D-6459FBD924F5}" type="slidenum">
              <a:rPr lang="es-CL" smtClean="0"/>
              <a:t>19</a:t>
            </a:fld>
            <a:endParaRPr lang="es-CL"/>
          </a:p>
        </p:txBody>
      </p:sp>
    </p:spTree>
    <p:extLst>
      <p:ext uri="{BB962C8B-B14F-4D97-AF65-F5344CB8AC3E}">
        <p14:creationId xmlns:p14="http://schemas.microsoft.com/office/powerpoint/2010/main" val="30977562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fld id="{6BD66855-50F1-4DB1-973D-6459FBD924F5}" type="slidenum">
              <a:rPr lang="es-CL" smtClean="0"/>
              <a:t>22</a:t>
            </a:fld>
            <a:endParaRPr lang="es-CL"/>
          </a:p>
        </p:txBody>
      </p:sp>
    </p:spTree>
    <p:extLst>
      <p:ext uri="{BB962C8B-B14F-4D97-AF65-F5344CB8AC3E}">
        <p14:creationId xmlns:p14="http://schemas.microsoft.com/office/powerpoint/2010/main" val="14314460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fld id="{6BD66855-50F1-4DB1-973D-6459FBD924F5}" type="slidenum">
              <a:rPr lang="es-CL" smtClean="0"/>
              <a:t>23</a:t>
            </a:fld>
            <a:endParaRPr lang="es-CL"/>
          </a:p>
        </p:txBody>
      </p:sp>
    </p:spTree>
    <p:extLst>
      <p:ext uri="{BB962C8B-B14F-4D97-AF65-F5344CB8AC3E}">
        <p14:creationId xmlns:p14="http://schemas.microsoft.com/office/powerpoint/2010/main" val="29499313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fld id="{6BD66855-50F1-4DB1-973D-6459FBD924F5}" type="slidenum">
              <a:rPr lang="es-CL" smtClean="0"/>
              <a:t>24</a:t>
            </a:fld>
            <a:endParaRPr lang="es-CL"/>
          </a:p>
        </p:txBody>
      </p:sp>
    </p:spTree>
    <p:extLst>
      <p:ext uri="{BB962C8B-B14F-4D97-AF65-F5344CB8AC3E}">
        <p14:creationId xmlns:p14="http://schemas.microsoft.com/office/powerpoint/2010/main" val="12628323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a:p>
        </p:txBody>
      </p:sp>
      <p:sp>
        <p:nvSpPr>
          <p:cNvPr id="4" name="Marcador de número de diapositiva 3"/>
          <p:cNvSpPr>
            <a:spLocks noGrp="1"/>
          </p:cNvSpPr>
          <p:nvPr>
            <p:ph type="sldNum" sz="quarter" idx="5"/>
          </p:nvPr>
        </p:nvSpPr>
        <p:spPr/>
        <p:txBody>
          <a:bodyPr/>
          <a:lstStyle/>
          <a:p>
            <a:fld id="{6BD66855-50F1-4DB1-973D-6459FBD924F5}" type="slidenum">
              <a:rPr lang="es-CL" smtClean="0"/>
              <a:t>30</a:t>
            </a:fld>
            <a:endParaRPr lang="es-CL"/>
          </a:p>
        </p:txBody>
      </p:sp>
    </p:spTree>
    <p:extLst>
      <p:ext uri="{BB962C8B-B14F-4D97-AF65-F5344CB8AC3E}">
        <p14:creationId xmlns:p14="http://schemas.microsoft.com/office/powerpoint/2010/main" val="5582703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a:p>
        </p:txBody>
      </p:sp>
      <p:sp>
        <p:nvSpPr>
          <p:cNvPr id="4" name="Marcador de número de diapositiva 3"/>
          <p:cNvSpPr>
            <a:spLocks noGrp="1"/>
          </p:cNvSpPr>
          <p:nvPr>
            <p:ph type="sldNum" sz="quarter" idx="5"/>
          </p:nvPr>
        </p:nvSpPr>
        <p:spPr/>
        <p:txBody>
          <a:bodyPr/>
          <a:lstStyle/>
          <a:p>
            <a:fld id="{6BD66855-50F1-4DB1-973D-6459FBD924F5}" type="slidenum">
              <a:rPr lang="es-CL" smtClean="0"/>
              <a:t>31</a:t>
            </a:fld>
            <a:endParaRPr lang="es-CL"/>
          </a:p>
        </p:txBody>
      </p:sp>
    </p:spTree>
    <p:extLst>
      <p:ext uri="{BB962C8B-B14F-4D97-AF65-F5344CB8AC3E}">
        <p14:creationId xmlns:p14="http://schemas.microsoft.com/office/powerpoint/2010/main" val="42121448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a:p>
        </p:txBody>
      </p:sp>
      <p:sp>
        <p:nvSpPr>
          <p:cNvPr id="4" name="Marcador de número de diapositiva 3"/>
          <p:cNvSpPr>
            <a:spLocks noGrp="1"/>
          </p:cNvSpPr>
          <p:nvPr>
            <p:ph type="sldNum" sz="quarter" idx="5"/>
          </p:nvPr>
        </p:nvSpPr>
        <p:spPr/>
        <p:txBody>
          <a:bodyPr/>
          <a:lstStyle/>
          <a:p>
            <a:fld id="{6BD66855-50F1-4DB1-973D-6459FBD924F5}" type="slidenum">
              <a:rPr lang="es-CL" smtClean="0"/>
              <a:t>32</a:t>
            </a:fld>
            <a:endParaRPr lang="es-CL"/>
          </a:p>
        </p:txBody>
      </p:sp>
    </p:spTree>
    <p:extLst>
      <p:ext uri="{BB962C8B-B14F-4D97-AF65-F5344CB8AC3E}">
        <p14:creationId xmlns:p14="http://schemas.microsoft.com/office/powerpoint/2010/main" val="27549237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a:p>
        </p:txBody>
      </p:sp>
      <p:sp>
        <p:nvSpPr>
          <p:cNvPr id="4" name="Marcador de número de diapositiva 3"/>
          <p:cNvSpPr>
            <a:spLocks noGrp="1"/>
          </p:cNvSpPr>
          <p:nvPr>
            <p:ph type="sldNum" sz="quarter" idx="5"/>
          </p:nvPr>
        </p:nvSpPr>
        <p:spPr/>
        <p:txBody>
          <a:bodyPr/>
          <a:lstStyle/>
          <a:p>
            <a:fld id="{6BD66855-50F1-4DB1-973D-6459FBD924F5}" type="slidenum">
              <a:rPr lang="es-CL" smtClean="0"/>
              <a:t>33</a:t>
            </a:fld>
            <a:endParaRPr lang="es-CL"/>
          </a:p>
        </p:txBody>
      </p:sp>
    </p:spTree>
    <p:extLst>
      <p:ext uri="{BB962C8B-B14F-4D97-AF65-F5344CB8AC3E}">
        <p14:creationId xmlns:p14="http://schemas.microsoft.com/office/powerpoint/2010/main" val="42361397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a:p>
        </p:txBody>
      </p:sp>
      <p:sp>
        <p:nvSpPr>
          <p:cNvPr id="4" name="Marcador de número de diapositiva 3"/>
          <p:cNvSpPr>
            <a:spLocks noGrp="1"/>
          </p:cNvSpPr>
          <p:nvPr>
            <p:ph type="sldNum" sz="quarter" idx="5"/>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C1BA1044-0A56-495C-9243-BB1D23EEAE4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03873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fld id="{BCDECE3B-8A8E-DC47-B9E7-CF56273373CE}" type="slidenum">
              <a:rPr lang="es-CL" smtClean="0"/>
              <a:t>46</a:t>
            </a:fld>
            <a:endParaRPr lang="es-CL"/>
          </a:p>
        </p:txBody>
      </p:sp>
    </p:spTree>
    <p:extLst>
      <p:ext uri="{BB962C8B-B14F-4D97-AF65-F5344CB8AC3E}">
        <p14:creationId xmlns:p14="http://schemas.microsoft.com/office/powerpoint/2010/main" val="68229296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a:p>
        </p:txBody>
      </p:sp>
      <p:sp>
        <p:nvSpPr>
          <p:cNvPr id="4" name="Marcador de número de diapositiva 3"/>
          <p:cNvSpPr>
            <a:spLocks noGrp="1"/>
          </p:cNvSpPr>
          <p:nvPr>
            <p:ph type="sldNum" sz="quarter" idx="5"/>
          </p:nvPr>
        </p:nvSpPr>
        <p:spPr/>
        <p:txBody>
          <a:bodyPr/>
          <a:lstStyle/>
          <a:p>
            <a:fld id="{6BD66855-50F1-4DB1-973D-6459FBD924F5}" type="slidenum">
              <a:rPr lang="es-CL" smtClean="0"/>
              <a:t>54</a:t>
            </a:fld>
            <a:endParaRPr lang="es-CL"/>
          </a:p>
        </p:txBody>
      </p:sp>
    </p:spTree>
    <p:extLst>
      <p:ext uri="{BB962C8B-B14F-4D97-AF65-F5344CB8AC3E}">
        <p14:creationId xmlns:p14="http://schemas.microsoft.com/office/powerpoint/2010/main" val="16931124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a:p>
        </p:txBody>
      </p:sp>
      <p:sp>
        <p:nvSpPr>
          <p:cNvPr id="4" name="Marcador de número de diapositiva 3"/>
          <p:cNvSpPr>
            <a:spLocks noGrp="1"/>
          </p:cNvSpPr>
          <p:nvPr>
            <p:ph type="sldNum" sz="quarter" idx="5"/>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C1BA1044-0A56-495C-9243-BB1D23EEAE4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55368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a:p>
        </p:txBody>
      </p:sp>
      <p:sp>
        <p:nvSpPr>
          <p:cNvPr id="4" name="Marcador de número de diapositiva 3"/>
          <p:cNvSpPr>
            <a:spLocks noGrp="1"/>
          </p:cNvSpPr>
          <p:nvPr>
            <p:ph type="sldNum" sz="quarter" idx="5"/>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C1BA1044-0A56-495C-9243-BB1D23EEAE4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25724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a:p>
        </p:txBody>
      </p:sp>
      <p:sp>
        <p:nvSpPr>
          <p:cNvPr id="4" name="Marcador de número de diapositiva 3"/>
          <p:cNvSpPr>
            <a:spLocks noGrp="1"/>
          </p:cNvSpPr>
          <p:nvPr>
            <p:ph type="sldNum" sz="quarter" idx="5"/>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C1BA1044-0A56-495C-9243-BB1D23EEAE4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31304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a:p>
        </p:txBody>
      </p:sp>
      <p:sp>
        <p:nvSpPr>
          <p:cNvPr id="4" name="Marcador de número de diapositiva 3"/>
          <p:cNvSpPr>
            <a:spLocks noGrp="1"/>
          </p:cNvSpPr>
          <p:nvPr>
            <p:ph type="sldNum" sz="quarter" idx="5"/>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C1BA1044-0A56-495C-9243-BB1D23EEAE4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6282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a:p>
        </p:txBody>
      </p:sp>
      <p:sp>
        <p:nvSpPr>
          <p:cNvPr id="4" name="Marcador de número de diapositiva 3"/>
          <p:cNvSpPr>
            <a:spLocks noGrp="1"/>
          </p:cNvSpPr>
          <p:nvPr>
            <p:ph type="sldNum" sz="quarter" idx="5"/>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C1BA1044-0A56-495C-9243-BB1D23EEAE4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618131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a:p>
        </p:txBody>
      </p:sp>
      <p:sp>
        <p:nvSpPr>
          <p:cNvPr id="4" name="Marcador de número de diapositiva 3"/>
          <p:cNvSpPr>
            <a:spLocks noGrp="1"/>
          </p:cNvSpPr>
          <p:nvPr>
            <p:ph type="sldNum" sz="quarter" idx="5"/>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C1BA1044-0A56-495C-9243-BB1D23EEAE4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744400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L"/>
          </a:p>
        </p:txBody>
      </p:sp>
      <p:sp>
        <p:nvSpPr>
          <p:cNvPr id="4" name="Marcador de número de diapositiva 3"/>
          <p:cNvSpPr>
            <a:spLocks noGrp="1"/>
          </p:cNvSpPr>
          <p:nvPr>
            <p:ph type="sldNum" sz="quarter" idx="5"/>
          </p:nvPr>
        </p:nvSpPr>
        <p:spPr/>
        <p:txBody>
          <a:bodyPr/>
          <a:lstStyle/>
          <a:p>
            <a:pPr marL="0" marR="0" lvl="0" indent="0" algn="r" defTabSz="933237" rtl="0" eaLnBrk="1" fontAlgn="auto" latinLnBrk="0" hangingPunct="1">
              <a:lnSpc>
                <a:spcPct val="100000"/>
              </a:lnSpc>
              <a:spcBef>
                <a:spcPts val="0"/>
              </a:spcBef>
              <a:spcAft>
                <a:spcPts val="0"/>
              </a:spcAft>
              <a:buClrTx/>
              <a:buSzTx/>
              <a:buFontTx/>
              <a:buNone/>
              <a:tabLst/>
              <a:defRPr/>
            </a:pPr>
            <a:fld id="{C1BA1044-0A56-495C-9243-BB1D23EEAE4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3237"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26763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ortada">
    <p:spTree>
      <p:nvGrpSpPr>
        <p:cNvPr id="1" name=""/>
        <p:cNvGrpSpPr/>
        <p:nvPr/>
      </p:nvGrpSpPr>
      <p:grpSpPr>
        <a:xfrm>
          <a:off x="0" y="0"/>
          <a:ext cx="0" cy="0"/>
          <a:chOff x="0" y="0"/>
          <a:chExt cx="0" cy="0"/>
        </a:xfrm>
      </p:grpSpPr>
      <p:sp>
        <p:nvSpPr>
          <p:cNvPr id="8" name="Marcador de texto 7">
            <a:extLst>
              <a:ext uri="{FF2B5EF4-FFF2-40B4-BE49-F238E27FC236}">
                <a16:creationId xmlns:a16="http://schemas.microsoft.com/office/drawing/2014/main" id="{B8A79DDD-EB5C-7D4A-9850-5881122FFFCE}"/>
              </a:ext>
            </a:extLst>
          </p:cNvPr>
          <p:cNvSpPr>
            <a:spLocks noGrp="1"/>
          </p:cNvSpPr>
          <p:nvPr>
            <p:ph type="body" sz="quarter" idx="10" hasCustomPrompt="1"/>
          </p:nvPr>
        </p:nvSpPr>
        <p:spPr>
          <a:xfrm>
            <a:off x="1524000" y="2039726"/>
            <a:ext cx="9144000" cy="852488"/>
          </a:xfrm>
        </p:spPr>
        <p:txBody>
          <a:bodyPr>
            <a:noAutofit/>
          </a:bodyPr>
          <a:lstStyle>
            <a:lvl1pPr marL="0" indent="0" algn="ctr">
              <a:buNone/>
              <a:defRPr sz="6000" b="1">
                <a:solidFill>
                  <a:schemeClr val="accent1">
                    <a:lumMod val="75000"/>
                  </a:schemeClr>
                </a:solidFill>
              </a:defRPr>
            </a:lvl1pPr>
          </a:lstStyle>
          <a:p>
            <a:pPr lvl="0"/>
            <a:r>
              <a:rPr lang="es-MX"/>
              <a:t>Título Verdana T60</a:t>
            </a:r>
            <a:endParaRPr lang="es-CL"/>
          </a:p>
        </p:txBody>
      </p:sp>
      <p:sp>
        <p:nvSpPr>
          <p:cNvPr id="11" name="Marcador de texto 9">
            <a:extLst>
              <a:ext uri="{FF2B5EF4-FFF2-40B4-BE49-F238E27FC236}">
                <a16:creationId xmlns:a16="http://schemas.microsoft.com/office/drawing/2014/main" id="{3A7F7C1A-6A80-D803-CFC0-159B7B093FFA}"/>
              </a:ext>
            </a:extLst>
          </p:cNvPr>
          <p:cNvSpPr>
            <a:spLocks noGrp="1"/>
          </p:cNvSpPr>
          <p:nvPr>
            <p:ph type="body" sz="quarter" idx="11" hasCustomPrompt="1"/>
          </p:nvPr>
        </p:nvSpPr>
        <p:spPr>
          <a:xfrm>
            <a:off x="1524000" y="3046625"/>
            <a:ext cx="9144000" cy="457200"/>
          </a:xfrm>
        </p:spPr>
        <p:txBody>
          <a:bodyPr>
            <a:normAutofit/>
          </a:bodyPr>
          <a:lstStyle>
            <a:lvl1pPr marL="0" indent="0" algn="ctr">
              <a:buNone/>
              <a:defRPr sz="2400">
                <a:solidFill>
                  <a:schemeClr val="accent5">
                    <a:lumMod val="75000"/>
                  </a:schemeClr>
                </a:solidFill>
              </a:defRPr>
            </a:lvl1pPr>
          </a:lstStyle>
          <a:p>
            <a:pPr lvl="0"/>
            <a:r>
              <a:rPr lang="es-MX"/>
              <a:t>Subtítulo Verdana T26</a:t>
            </a:r>
            <a:endParaRPr lang="es-CL"/>
          </a:p>
        </p:txBody>
      </p:sp>
    </p:spTree>
    <p:extLst>
      <p:ext uri="{BB962C8B-B14F-4D97-AF65-F5344CB8AC3E}">
        <p14:creationId xmlns:p14="http://schemas.microsoft.com/office/powerpoint/2010/main" val="25682744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ágina 1">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4AFEA74-B62A-B143-B91E-22AA5614F248}"/>
              </a:ext>
            </a:extLst>
          </p:cNvPr>
          <p:cNvSpPr>
            <a:spLocks noGrp="1"/>
          </p:cNvSpPr>
          <p:nvPr>
            <p:ph type="title" hasCustomPrompt="1"/>
          </p:nvPr>
        </p:nvSpPr>
        <p:spPr>
          <a:xfrm>
            <a:off x="679873" y="846667"/>
            <a:ext cx="10832253" cy="646049"/>
          </a:xfrm>
        </p:spPr>
        <p:txBody>
          <a:bodyPr anchor="t"/>
          <a:lstStyle>
            <a:lvl1pPr>
              <a:defRPr b="1">
                <a:solidFill>
                  <a:schemeClr val="accent1">
                    <a:lumMod val="75000"/>
                  </a:schemeClr>
                </a:solidFill>
              </a:defRPr>
            </a:lvl1pPr>
          </a:lstStyle>
          <a:p>
            <a:r>
              <a:rPr lang="es-ES"/>
              <a:t>Título </a:t>
            </a:r>
            <a:r>
              <a:rPr lang="es-ES" err="1"/>
              <a:t>Verdana</a:t>
            </a:r>
            <a:r>
              <a:rPr lang="es-ES"/>
              <a:t> T44</a:t>
            </a:r>
            <a:endParaRPr lang="es-CL"/>
          </a:p>
        </p:txBody>
      </p:sp>
      <p:sp>
        <p:nvSpPr>
          <p:cNvPr id="15" name="Marcador de texto 14">
            <a:extLst>
              <a:ext uri="{FF2B5EF4-FFF2-40B4-BE49-F238E27FC236}">
                <a16:creationId xmlns:a16="http://schemas.microsoft.com/office/drawing/2014/main" id="{B47C712A-0B73-F195-845B-8B028C599082}"/>
              </a:ext>
            </a:extLst>
          </p:cNvPr>
          <p:cNvSpPr>
            <a:spLocks noGrp="1"/>
          </p:cNvSpPr>
          <p:nvPr>
            <p:ph type="body" sz="quarter" idx="10" hasCustomPrompt="1"/>
          </p:nvPr>
        </p:nvSpPr>
        <p:spPr>
          <a:xfrm>
            <a:off x="680614" y="1574526"/>
            <a:ext cx="10831512" cy="444500"/>
          </a:xfrm>
        </p:spPr>
        <p:txBody>
          <a:bodyPr>
            <a:noAutofit/>
          </a:bodyPr>
          <a:lstStyle>
            <a:lvl1pPr marL="0" indent="0">
              <a:buNone/>
              <a:defRPr sz="2600" b="1">
                <a:solidFill>
                  <a:schemeClr val="accent5">
                    <a:lumMod val="60000"/>
                    <a:lumOff val="40000"/>
                  </a:schemeClr>
                </a:solidFill>
              </a:defRPr>
            </a:lvl1pPr>
          </a:lstStyle>
          <a:p>
            <a:pPr lvl="0"/>
            <a:r>
              <a:rPr lang="es-MX"/>
              <a:t>Subtítulo Verdana T26</a:t>
            </a:r>
            <a:endParaRPr lang="es-CL"/>
          </a:p>
        </p:txBody>
      </p:sp>
      <p:sp>
        <p:nvSpPr>
          <p:cNvPr id="16" name="Marcador de texto 10">
            <a:extLst>
              <a:ext uri="{FF2B5EF4-FFF2-40B4-BE49-F238E27FC236}">
                <a16:creationId xmlns:a16="http://schemas.microsoft.com/office/drawing/2014/main" id="{F9D4835F-EB91-6FD7-4844-A742A7BC1732}"/>
              </a:ext>
            </a:extLst>
          </p:cNvPr>
          <p:cNvSpPr>
            <a:spLocks noGrp="1"/>
          </p:cNvSpPr>
          <p:nvPr>
            <p:ph type="body" sz="quarter" idx="12" hasCustomPrompt="1"/>
          </p:nvPr>
        </p:nvSpPr>
        <p:spPr>
          <a:xfrm>
            <a:off x="680614" y="2587413"/>
            <a:ext cx="10831512" cy="3054774"/>
          </a:xfrm>
        </p:spPr>
        <p:txBody>
          <a:bodyPr>
            <a:normAutofit/>
          </a:bodyPr>
          <a:lstStyle>
            <a:lvl1pPr>
              <a:defRPr sz="2400">
                <a:solidFill>
                  <a:schemeClr val="accent1">
                    <a:lumMod val="75000"/>
                  </a:schemeClr>
                </a:solidFill>
              </a:defRPr>
            </a:lvl1pPr>
          </a:lstStyle>
          <a:p>
            <a:pPr lvl="0"/>
            <a:r>
              <a:rPr lang="es-MX"/>
              <a:t>Lorem ipsum dolor sit amet. T24</a:t>
            </a:r>
            <a:endParaRPr lang="es-CL"/>
          </a:p>
        </p:txBody>
      </p:sp>
    </p:spTree>
    <p:extLst>
      <p:ext uri="{BB962C8B-B14F-4D97-AF65-F5344CB8AC3E}">
        <p14:creationId xmlns:p14="http://schemas.microsoft.com/office/powerpoint/2010/main" val="14423827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ágina 2">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4AFEA74-B62A-B143-B91E-22AA5614F248}"/>
              </a:ext>
            </a:extLst>
          </p:cNvPr>
          <p:cNvSpPr>
            <a:spLocks noGrp="1"/>
          </p:cNvSpPr>
          <p:nvPr>
            <p:ph type="title" hasCustomPrompt="1"/>
          </p:nvPr>
        </p:nvSpPr>
        <p:spPr>
          <a:xfrm>
            <a:off x="679873" y="846667"/>
            <a:ext cx="10832253" cy="646049"/>
          </a:xfrm>
        </p:spPr>
        <p:txBody>
          <a:bodyPr anchor="t"/>
          <a:lstStyle>
            <a:lvl1pPr>
              <a:defRPr b="1">
                <a:solidFill>
                  <a:schemeClr val="accent5">
                    <a:lumMod val="40000"/>
                    <a:lumOff val="60000"/>
                  </a:schemeClr>
                </a:solidFill>
              </a:defRPr>
            </a:lvl1pPr>
          </a:lstStyle>
          <a:p>
            <a:r>
              <a:rPr lang="es-ES"/>
              <a:t>Título </a:t>
            </a:r>
            <a:r>
              <a:rPr lang="es-ES" err="1"/>
              <a:t>Verdana</a:t>
            </a:r>
            <a:r>
              <a:rPr lang="es-ES"/>
              <a:t> T44</a:t>
            </a:r>
            <a:endParaRPr lang="es-CL"/>
          </a:p>
        </p:txBody>
      </p:sp>
      <p:sp>
        <p:nvSpPr>
          <p:cNvPr id="7" name="Marcador de texto 14">
            <a:extLst>
              <a:ext uri="{FF2B5EF4-FFF2-40B4-BE49-F238E27FC236}">
                <a16:creationId xmlns:a16="http://schemas.microsoft.com/office/drawing/2014/main" id="{90F50B5D-7962-FFAF-2981-312548239F8B}"/>
              </a:ext>
            </a:extLst>
          </p:cNvPr>
          <p:cNvSpPr>
            <a:spLocks noGrp="1"/>
          </p:cNvSpPr>
          <p:nvPr>
            <p:ph type="body" sz="quarter" idx="10" hasCustomPrompt="1"/>
          </p:nvPr>
        </p:nvSpPr>
        <p:spPr>
          <a:xfrm>
            <a:off x="680614" y="1574526"/>
            <a:ext cx="10831512" cy="444500"/>
          </a:xfrm>
        </p:spPr>
        <p:txBody>
          <a:bodyPr>
            <a:noAutofit/>
          </a:bodyPr>
          <a:lstStyle>
            <a:lvl1pPr marL="0" indent="0">
              <a:buNone/>
              <a:defRPr sz="2600" b="1">
                <a:solidFill>
                  <a:schemeClr val="accent5">
                    <a:lumMod val="20000"/>
                    <a:lumOff val="80000"/>
                  </a:schemeClr>
                </a:solidFill>
              </a:defRPr>
            </a:lvl1pPr>
          </a:lstStyle>
          <a:p>
            <a:pPr lvl="0"/>
            <a:r>
              <a:rPr lang="es-MX"/>
              <a:t>Subtítulo Verdana T26</a:t>
            </a:r>
            <a:endParaRPr lang="es-CL"/>
          </a:p>
        </p:txBody>
      </p:sp>
      <p:sp>
        <p:nvSpPr>
          <p:cNvPr id="11" name="Marcador de texto 10">
            <a:extLst>
              <a:ext uri="{FF2B5EF4-FFF2-40B4-BE49-F238E27FC236}">
                <a16:creationId xmlns:a16="http://schemas.microsoft.com/office/drawing/2014/main" id="{AC0258CA-F903-5CBD-243B-04D225C00B41}"/>
              </a:ext>
            </a:extLst>
          </p:cNvPr>
          <p:cNvSpPr>
            <a:spLocks noGrp="1"/>
          </p:cNvSpPr>
          <p:nvPr>
            <p:ph type="body" sz="quarter" idx="12" hasCustomPrompt="1"/>
          </p:nvPr>
        </p:nvSpPr>
        <p:spPr>
          <a:xfrm>
            <a:off x="680614" y="2587413"/>
            <a:ext cx="10831512" cy="3034454"/>
          </a:xfrm>
        </p:spPr>
        <p:txBody>
          <a:bodyPr>
            <a:normAutofit/>
          </a:bodyPr>
          <a:lstStyle>
            <a:lvl1pPr>
              <a:defRPr sz="2400">
                <a:solidFill>
                  <a:schemeClr val="accent5">
                    <a:lumMod val="20000"/>
                    <a:lumOff val="80000"/>
                  </a:schemeClr>
                </a:solidFill>
              </a:defRPr>
            </a:lvl1pPr>
          </a:lstStyle>
          <a:p>
            <a:pPr lvl="0"/>
            <a:r>
              <a:rPr lang="es-MX"/>
              <a:t>Lorem ipsum dolor sit amet. T24</a:t>
            </a:r>
            <a:endParaRPr lang="es-CL"/>
          </a:p>
        </p:txBody>
      </p:sp>
    </p:spTree>
    <p:extLst>
      <p:ext uri="{BB962C8B-B14F-4D97-AF65-F5344CB8AC3E}">
        <p14:creationId xmlns:p14="http://schemas.microsoft.com/office/powerpoint/2010/main" val="28801127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ierr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214326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2"/>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7"/>
            <a:ext cx="28448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pitchFamily="34" charset="0"/>
              </a:defRPr>
            </a:lvl1pPr>
          </a:lstStyle>
          <a:p>
            <a:pPr defTabSz="457200" eaLnBrk="1" hangingPunct="1">
              <a:defRPr/>
            </a:pPr>
            <a:endParaRPr lang="en-US" altLang="es-CL">
              <a:solidFill>
                <a:prstClr val="black"/>
              </a:solidFill>
              <a:ea typeface="ヒラギノ角ゴ Pro W3" charset="-128"/>
            </a:endParaRPr>
          </a:p>
        </p:txBody>
      </p:sp>
      <p:sp>
        <p:nvSpPr>
          <p:cNvPr id="5" name="Footer Placeholder 4"/>
          <p:cNvSpPr>
            <a:spLocks noGrp="1"/>
          </p:cNvSpPr>
          <p:nvPr>
            <p:ph type="ftr" sz="quarter" idx="11"/>
          </p:nvPr>
        </p:nvSpPr>
        <p:spPr>
          <a:xfrm>
            <a:off x="4165600" y="6356357"/>
            <a:ext cx="38608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charset="0"/>
                <a:ea typeface="ヒラギノ角ゴ Pro W3" charset="0"/>
                <a:cs typeface="ヒラギノ角ゴ Pro W3" charset="0"/>
              </a:defRPr>
            </a:lvl1pPr>
          </a:lstStyle>
          <a:p>
            <a:pPr defTabSz="457200" eaLnBrk="1" hangingPunct="1">
              <a:defRPr/>
            </a:pPr>
            <a:r>
              <a:rPr lang="es-ES">
                <a:solidFill>
                  <a:prstClr val="black"/>
                </a:solidFill>
              </a:rPr>
              <a:t>Gobierno de Chile | Ministerio del Interior </a:t>
            </a:r>
          </a:p>
        </p:txBody>
      </p:sp>
      <p:sp>
        <p:nvSpPr>
          <p:cNvPr id="6" name="Slide Number Placeholder 5"/>
          <p:cNvSpPr>
            <a:spLocks noGrp="1"/>
          </p:cNvSpPr>
          <p:nvPr>
            <p:ph type="sldNum" sz="quarter" idx="12"/>
          </p:nvPr>
        </p:nvSpPr>
        <p:spPr>
          <a:xfrm>
            <a:off x="8737600" y="6356357"/>
            <a:ext cx="2844800" cy="365125"/>
          </a:xfrm>
          <a:prstGeom prst="rect">
            <a:avLst/>
          </a:prstGeom>
        </p:spPr>
        <p:txBody>
          <a:bodyPr vert="horz" wrap="square" lIns="91440" tIns="45720" rIns="91440" bIns="45720" numCol="1" anchor="t" anchorCtr="0" compatLnSpc="1">
            <a:prstTxWarp prst="textNoShape">
              <a:avLst/>
            </a:prstTxWarp>
          </a:bodyPr>
          <a:lstStyle>
            <a:lvl1pPr>
              <a:defRPr>
                <a:latin typeface="Calibri" pitchFamily="34" charset="0"/>
              </a:defRPr>
            </a:lvl1pPr>
          </a:lstStyle>
          <a:p>
            <a:pPr defTabSz="457200" eaLnBrk="1" hangingPunct="1">
              <a:defRPr/>
            </a:pPr>
            <a:fld id="{74CA2ABA-2A57-4D3C-BFD6-0D33A8662142}" type="slidenum">
              <a:rPr lang="en-US" altLang="es-CL">
                <a:solidFill>
                  <a:prstClr val="black"/>
                </a:solidFill>
                <a:ea typeface="ヒラギノ角ゴ Pro W3" charset="-128"/>
              </a:rPr>
              <a:pPr defTabSz="457200" eaLnBrk="1" hangingPunct="1">
                <a:defRPr/>
              </a:pPr>
              <a:t>‹Nº›</a:t>
            </a:fld>
            <a:endParaRPr lang="en-US" altLang="es-CL">
              <a:solidFill>
                <a:prstClr val="black"/>
              </a:solidFill>
              <a:ea typeface="ヒラギノ角ゴ Pro W3" charset="-128"/>
            </a:endParaRPr>
          </a:p>
        </p:txBody>
      </p:sp>
    </p:spTree>
    <p:extLst>
      <p:ext uri="{BB962C8B-B14F-4D97-AF65-F5344CB8AC3E}">
        <p14:creationId xmlns:p14="http://schemas.microsoft.com/office/powerpoint/2010/main" val="18655426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6895421-8591-413F-81A4-4CF788E76F6F}" type="datetimeFigureOut">
              <a:rPr lang="es-CL" smtClean="0"/>
              <a:t>12-12-2023</a:t>
            </a:fld>
            <a:endParaRPr lang="es-CL"/>
          </a:p>
        </p:txBody>
      </p:sp>
      <p:sp>
        <p:nvSpPr>
          <p:cNvPr id="3" name="Footer Placeholder 2"/>
          <p:cNvSpPr>
            <a:spLocks noGrp="1"/>
          </p:cNvSpPr>
          <p:nvPr>
            <p:ph type="ftr" sz="quarter" idx="11"/>
          </p:nvPr>
        </p:nvSpPr>
        <p:spPr/>
        <p:txBody>
          <a:bodyPr/>
          <a:lstStyle/>
          <a:p>
            <a:pPr defTabSz="457200" eaLnBrk="1" hangingPunct="1">
              <a:defRPr/>
            </a:pPr>
            <a:r>
              <a:rPr lang="es-ES_tradnl" altLang="es-CL">
                <a:ea typeface="ヒラギノ角ゴ Pro W3" charset="-128"/>
              </a:rPr>
              <a:t>Gobierno de Chile | Ministerio del Interior </a:t>
            </a:r>
          </a:p>
        </p:txBody>
      </p:sp>
      <p:sp>
        <p:nvSpPr>
          <p:cNvPr id="4" name="Slide Number Placeholder 3"/>
          <p:cNvSpPr>
            <a:spLocks noGrp="1"/>
          </p:cNvSpPr>
          <p:nvPr>
            <p:ph type="sldNum" sz="quarter" idx="12"/>
          </p:nvPr>
        </p:nvSpPr>
        <p:spPr/>
        <p:txBody>
          <a:bodyPr/>
          <a:lstStyle/>
          <a:p>
            <a:pPr defTabSz="457200" eaLnBrk="1" hangingPunct="1">
              <a:defRPr/>
            </a:pPr>
            <a:fld id="{561372B5-9098-4E61-9E1F-54D675A4364D}" type="slidenum">
              <a:rPr lang="en-US" altLang="es-CL" smtClean="0">
                <a:ea typeface="ヒラギノ角ゴ Pro W3" charset="-128"/>
              </a:rPr>
              <a:pPr defTabSz="457200" eaLnBrk="1" hangingPunct="1">
                <a:defRPr/>
              </a:pPr>
              <a:t>‹Nº›</a:t>
            </a:fld>
            <a:endParaRPr lang="en-US" altLang="es-CL">
              <a:ea typeface="ヒラギノ角ゴ Pro W3" charset="-128"/>
            </a:endParaRPr>
          </a:p>
        </p:txBody>
      </p:sp>
    </p:spTree>
    <p:extLst>
      <p:ext uri="{BB962C8B-B14F-4D97-AF65-F5344CB8AC3E}">
        <p14:creationId xmlns:p14="http://schemas.microsoft.com/office/powerpoint/2010/main" val="4174747054"/>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s-ES"/>
              <a:t>Haga clic para modificar el estilo de título del patrón</a:t>
            </a:r>
            <a:endParaRPr lang="en-US"/>
          </a:p>
        </p:txBody>
      </p:sp>
      <p:sp>
        <p:nvSpPr>
          <p:cNvPr id="3" name="Content Placeholder 2"/>
          <p:cNvSpPr>
            <a:spLocks noGrp="1"/>
          </p:cNvSpPr>
          <p:nvPr>
            <p:ph idx="1"/>
          </p:nvPr>
        </p:nvSpPr>
        <p:spPr/>
        <p:txBody>
          <a:bodyPr/>
          <a:lstStyle/>
          <a:p>
            <a:pPr lvl="0"/>
            <a:r>
              <a:rPr lang="es-ES"/>
              <a:t>Editar el estilo de texto del patrón</a:t>
            </a:r>
          </a:p>
          <a:p>
            <a:pPr lvl="1"/>
            <a:r>
              <a:rPr lang="es-ES"/>
              <a:t>Segundo nivel</a:t>
            </a:r>
          </a:p>
          <a:p>
            <a:pPr lvl="2"/>
            <a:r>
              <a:rPr lang="es-ES"/>
              <a:t>Tercer nivel</a:t>
            </a:r>
          </a:p>
          <a:p>
            <a:pPr lvl="3"/>
            <a:r>
              <a:rPr lang="es-ES"/>
              <a:t>Cuarto nivel</a:t>
            </a:r>
          </a:p>
          <a:p>
            <a:pPr lvl="4"/>
            <a:r>
              <a:rPr lang="es-ES"/>
              <a:t>Quinto nivel</a:t>
            </a:r>
            <a:endParaRPr lang="en-US"/>
          </a:p>
        </p:txBody>
      </p:sp>
      <p:sp>
        <p:nvSpPr>
          <p:cNvPr id="4" name="Date Placeholder 3"/>
          <p:cNvSpPr>
            <a:spLocks noGrp="1"/>
          </p:cNvSpPr>
          <p:nvPr>
            <p:ph type="dt" sz="half" idx="10"/>
          </p:nvPr>
        </p:nvSpPr>
        <p:spPr/>
        <p:txBody>
          <a:bodyPr/>
          <a:lstStyle/>
          <a:p>
            <a:fld id="{56895421-8591-413F-81A4-4CF788E76F6F}" type="datetimeFigureOut">
              <a:rPr lang="es-CL" smtClean="0"/>
              <a:t>12-12-2023</a:t>
            </a:fld>
            <a:endParaRPr lang="es-CL"/>
          </a:p>
        </p:txBody>
      </p:sp>
      <p:sp>
        <p:nvSpPr>
          <p:cNvPr id="5" name="Footer Placeholder 4"/>
          <p:cNvSpPr>
            <a:spLocks noGrp="1"/>
          </p:cNvSpPr>
          <p:nvPr>
            <p:ph type="ftr" sz="quarter" idx="11"/>
          </p:nvPr>
        </p:nvSpPr>
        <p:spPr/>
        <p:txBody>
          <a:bodyPr/>
          <a:lstStyle/>
          <a:p>
            <a:pPr defTabSz="457200" eaLnBrk="1" hangingPunct="1">
              <a:defRPr/>
            </a:pPr>
            <a:r>
              <a:rPr lang="es-ES_tradnl" altLang="es-CL">
                <a:ea typeface="ヒラギノ角ゴ Pro W3" charset="-128"/>
              </a:rPr>
              <a:t>Gobierno de Chile | Ministerio del Interior </a:t>
            </a:r>
          </a:p>
        </p:txBody>
      </p:sp>
      <p:sp>
        <p:nvSpPr>
          <p:cNvPr id="6" name="Slide Number Placeholder 5"/>
          <p:cNvSpPr>
            <a:spLocks noGrp="1"/>
          </p:cNvSpPr>
          <p:nvPr>
            <p:ph type="sldNum" sz="quarter" idx="12"/>
          </p:nvPr>
        </p:nvSpPr>
        <p:spPr/>
        <p:txBody>
          <a:bodyPr/>
          <a:lstStyle/>
          <a:p>
            <a:pPr defTabSz="457200" eaLnBrk="1" hangingPunct="1">
              <a:defRPr/>
            </a:pPr>
            <a:fld id="{561372B5-9098-4E61-9E1F-54D675A4364D}" type="slidenum">
              <a:rPr lang="en-US" altLang="es-CL" smtClean="0">
                <a:ea typeface="ヒラギノ角ゴ Pro W3" charset="-128"/>
              </a:rPr>
              <a:pPr defTabSz="457200" eaLnBrk="1" hangingPunct="1">
                <a:defRPr/>
              </a:pPr>
              <a:t>‹Nº›</a:t>
            </a:fld>
            <a:endParaRPr lang="en-US" altLang="es-CL">
              <a:ea typeface="ヒラギノ角ゴ Pro W3" charset="-128"/>
            </a:endParaRPr>
          </a:p>
        </p:txBody>
      </p:sp>
    </p:spTree>
    <p:extLst>
      <p:ext uri="{BB962C8B-B14F-4D97-AF65-F5344CB8AC3E}">
        <p14:creationId xmlns:p14="http://schemas.microsoft.com/office/powerpoint/2010/main" val="265613411"/>
      </p:ext>
    </p:extLst>
  </p:cSld>
  <p:clrMapOvr>
    <a:masterClrMapping/>
  </p:clrMapOvr>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958076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0">
            <a:lum/>
          </a:blip>
          <a:srcRect/>
          <a:stretch>
            <a:fillRect/>
          </a:stretch>
        </a:blipFill>
        <a:effectLst/>
      </p:bgPr>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0D188014-5831-7B43-972A-636BF05B380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CL" sz="4400" b="1" err="1">
                <a:solidFill>
                  <a:schemeClr val="accent1">
                    <a:lumMod val="75000"/>
                  </a:schemeClr>
                </a:solidFill>
                <a:latin typeface="Verdana" panose="020B0604030504040204" pitchFamily="34" charset="0"/>
                <a:ea typeface="Verdana" panose="020B0604030504040204" pitchFamily="34" charset="0"/>
                <a:cs typeface="Verdana" panose="020B0604030504040204" pitchFamily="34" charset="0"/>
              </a:rPr>
              <a:t>Verdana</a:t>
            </a:r>
            <a:endParaRPr lang="es-CL"/>
          </a:p>
        </p:txBody>
      </p:sp>
      <p:sp>
        <p:nvSpPr>
          <p:cNvPr id="3" name="Marcador de texto 2">
            <a:extLst>
              <a:ext uri="{FF2B5EF4-FFF2-40B4-BE49-F238E27FC236}">
                <a16:creationId xmlns:a16="http://schemas.microsoft.com/office/drawing/2014/main" id="{56AA290D-D179-A849-937F-F0453C66C0F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r>
              <a:rPr lang="es-ES"/>
              <a:t>Editar los estilos de texto del patrón
Segundo nivel
Tercer nivel
Cuarto nivel
Quinto nivel</a:t>
            </a:r>
            <a:endParaRPr lang="es-CL"/>
          </a:p>
        </p:txBody>
      </p:sp>
      <p:sp>
        <p:nvSpPr>
          <p:cNvPr id="4" name="Marcador de fecha 3">
            <a:extLst>
              <a:ext uri="{FF2B5EF4-FFF2-40B4-BE49-F238E27FC236}">
                <a16:creationId xmlns:a16="http://schemas.microsoft.com/office/drawing/2014/main" id="{B6C25FFF-AF91-C14D-9807-0A44D51DFC0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8868756-A832-6946-8293-694AA9BB0A1E}" type="datetimeFigureOut">
              <a:rPr lang="es-CL" smtClean="0"/>
              <a:t>12-12-2023</a:t>
            </a:fld>
            <a:endParaRPr lang="es-CL"/>
          </a:p>
        </p:txBody>
      </p:sp>
      <p:sp>
        <p:nvSpPr>
          <p:cNvPr id="5" name="Marcador de pie de página 4">
            <a:extLst>
              <a:ext uri="{FF2B5EF4-FFF2-40B4-BE49-F238E27FC236}">
                <a16:creationId xmlns:a16="http://schemas.microsoft.com/office/drawing/2014/main" id="{FCFE25BD-8CB2-ED40-8DC7-5B1CE4ADC03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CL"/>
          </a:p>
        </p:txBody>
      </p:sp>
      <p:sp>
        <p:nvSpPr>
          <p:cNvPr id="6" name="Marcador de número de diapositiva 5">
            <a:extLst>
              <a:ext uri="{FF2B5EF4-FFF2-40B4-BE49-F238E27FC236}">
                <a16:creationId xmlns:a16="http://schemas.microsoft.com/office/drawing/2014/main" id="{D1112EE4-3193-F541-8679-F97C197589A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D65D76A-E84D-5246-AE81-49670E48EA76}" type="slidenum">
              <a:rPr lang="es-CL" smtClean="0"/>
              <a:t>‹Nº›</a:t>
            </a:fld>
            <a:endParaRPr lang="es-CL"/>
          </a:p>
        </p:txBody>
      </p:sp>
    </p:spTree>
    <p:extLst>
      <p:ext uri="{BB962C8B-B14F-4D97-AF65-F5344CB8AC3E}">
        <p14:creationId xmlns:p14="http://schemas.microsoft.com/office/powerpoint/2010/main" val="626450249"/>
      </p:ext>
    </p:extLst>
  </p:cSld>
  <p:clrMap bg1="lt1" tx1="dk1" bg2="lt2" tx2="dk2" accent1="accent1" accent2="accent2" accent3="accent3" accent4="accent4" accent5="accent5" accent6="accent6" hlink="hlink" folHlink="folHlink"/>
  <p:sldLayoutIdLst>
    <p:sldLayoutId id="2147483702" r:id="rId1"/>
    <p:sldLayoutId id="2147483704" r:id="rId2"/>
    <p:sldLayoutId id="2147483660" r:id="rId3"/>
    <p:sldLayoutId id="2147483705" r:id="rId4"/>
    <p:sldLayoutId id="2147483661" r:id="rId5"/>
    <p:sldLayoutId id="2147483662" r:id="rId6"/>
    <p:sldLayoutId id="2147483701" r:id="rId7"/>
    <p:sldLayoutId id="2147483666" r:id="rId8"/>
  </p:sldLayoutIdLst>
  <p:txStyles>
    <p:titleStyle>
      <a:lvl1pPr algn="l" defTabSz="914400" rtl="0" eaLnBrk="1" latinLnBrk="0" hangingPunct="1">
        <a:lnSpc>
          <a:spcPct val="90000"/>
        </a:lnSpc>
        <a:spcBef>
          <a:spcPct val="0"/>
        </a:spcBef>
        <a:buNone/>
        <a:defRPr sz="44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5.xml"/><Relationship Id="rId4" Type="http://schemas.openxmlformats.org/officeDocument/2006/relationships/chart" Target="../charts/chart1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6.xml"/><Relationship Id="rId4" Type="http://schemas.openxmlformats.org/officeDocument/2006/relationships/image" Target="../media/image5.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7.xml"/><Relationship Id="rId1" Type="http://schemas.openxmlformats.org/officeDocument/2006/relationships/tags" Target="../tags/tag1.xml"/><Relationship Id="rId5" Type="http://schemas.openxmlformats.org/officeDocument/2006/relationships/image" Target="../media/image6.emf"/><Relationship Id="rId4" Type="http://schemas.openxmlformats.org/officeDocument/2006/relationships/oleObject" Target="../embeddings/oleObject3.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2.xml"/><Relationship Id="rId5" Type="http://schemas.openxmlformats.org/officeDocument/2006/relationships/image" Target="../media/image6.emf"/><Relationship Id="rId4" Type="http://schemas.openxmlformats.org/officeDocument/2006/relationships/oleObject" Target="../embeddings/oleObject4.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7.xml"/><Relationship Id="rId1" Type="http://schemas.openxmlformats.org/officeDocument/2006/relationships/tags" Target="../tags/tag3.xml"/><Relationship Id="rId4" Type="http://schemas.openxmlformats.org/officeDocument/2006/relationships/image" Target="../media/image6.emf"/></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7.xml"/><Relationship Id="rId1" Type="http://schemas.openxmlformats.org/officeDocument/2006/relationships/tags" Target="../tags/tag4.xml"/><Relationship Id="rId4" Type="http://schemas.openxmlformats.org/officeDocument/2006/relationships/image" Target="../media/image6.emf"/></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microsoft.com/office/2018/10/relationships/comments" Target="../comments/modernComment_7FFFCF99_35FB6AB8.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8.xml"/><Relationship Id="rId4" Type="http://schemas.openxmlformats.org/officeDocument/2006/relationships/chart" Target="../charts/chart2.xml"/></Relationships>
</file>

<file path=ppt/slides/_rels/slide30.xml.rels><?xml version="1.0" encoding="UTF-8" standalone="yes"?>
<Relationships xmlns="http://schemas.openxmlformats.org/package/2006/relationships"><Relationship Id="rId3" Type="http://schemas.microsoft.com/office/2018/10/relationships/comments" Target="../comments/modernComment_7FFFCF8D_779EBAE3.xml"/><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xml"/><Relationship Id="rId1" Type="http://schemas.openxmlformats.org/officeDocument/2006/relationships/themeOverride" Target="../theme/themeOverride3.xml"/><Relationship Id="rId5" Type="http://schemas.openxmlformats.org/officeDocument/2006/relationships/image" Target="../media/image6.emf"/><Relationship Id="rId4" Type="http://schemas.openxmlformats.org/officeDocument/2006/relationships/oleObject" Target="../embeddings/oleObject7.bin"/></Relationships>
</file>

<file path=ppt/slides/_rels/slide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8" Type="http://schemas.openxmlformats.org/officeDocument/2006/relationships/image" Target="../media/image14.svg"/><Relationship Id="rId13" Type="http://schemas.openxmlformats.org/officeDocument/2006/relationships/image" Target="../media/image19.svg"/><Relationship Id="rId3" Type="http://schemas.openxmlformats.org/officeDocument/2006/relationships/image" Target="../media/image9.png"/><Relationship Id="rId7" Type="http://schemas.openxmlformats.org/officeDocument/2006/relationships/image" Target="../media/image13.png"/><Relationship Id="rId12" Type="http://schemas.openxmlformats.org/officeDocument/2006/relationships/image" Target="../media/image18.svg"/><Relationship Id="rId2" Type="http://schemas.microsoft.com/office/2018/10/relationships/comments" Target="../comments/modernComment_29BC_9CB21FE4.xml"/><Relationship Id="rId1" Type="http://schemas.openxmlformats.org/officeDocument/2006/relationships/slideLayout" Target="../slideLayouts/slideLayout7.xml"/><Relationship Id="rId6" Type="http://schemas.openxmlformats.org/officeDocument/2006/relationships/image" Target="../media/image12.svg"/><Relationship Id="rId11" Type="http://schemas.openxmlformats.org/officeDocument/2006/relationships/image" Target="../media/image17.png"/><Relationship Id="rId5" Type="http://schemas.openxmlformats.org/officeDocument/2006/relationships/image" Target="../media/image11.png"/><Relationship Id="rId15" Type="http://schemas.openxmlformats.org/officeDocument/2006/relationships/image" Target="../media/image21.svg"/><Relationship Id="rId10" Type="http://schemas.openxmlformats.org/officeDocument/2006/relationships/image" Target="../media/image16.svg"/><Relationship Id="rId4" Type="http://schemas.openxmlformats.org/officeDocument/2006/relationships/image" Target="../media/image10.svg"/><Relationship Id="rId9" Type="http://schemas.openxmlformats.org/officeDocument/2006/relationships/image" Target="../media/image15.png"/><Relationship Id="rId14" Type="http://schemas.openxmlformats.org/officeDocument/2006/relationships/image" Target="../media/image20.png"/></Relationships>
</file>

<file path=ppt/slides/_rels/slide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40.xml.rels><?xml version="1.0" encoding="UTF-8" standalone="yes"?>
<Relationships xmlns="http://schemas.openxmlformats.org/package/2006/relationships"><Relationship Id="rId3" Type="http://schemas.openxmlformats.org/officeDocument/2006/relationships/image" Target="../media/image16.svg"/><Relationship Id="rId7" Type="http://schemas.openxmlformats.org/officeDocument/2006/relationships/image" Target="../media/image19.svg"/><Relationship Id="rId2" Type="http://schemas.openxmlformats.org/officeDocument/2006/relationships/image" Target="../media/image15.png"/><Relationship Id="rId1" Type="http://schemas.openxmlformats.org/officeDocument/2006/relationships/slideLayout" Target="../slideLayouts/slideLayout7.xml"/><Relationship Id="rId6" Type="http://schemas.openxmlformats.org/officeDocument/2006/relationships/image" Target="../media/image13.png"/><Relationship Id="rId5" Type="http://schemas.openxmlformats.org/officeDocument/2006/relationships/image" Target="../media/image18.svg"/><Relationship Id="rId4" Type="http://schemas.openxmlformats.org/officeDocument/2006/relationships/image" Target="../media/image17.png"/></Relationships>
</file>

<file path=ppt/slides/_rels/slide41.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0.svg"/><Relationship Id="rId7" Type="http://schemas.openxmlformats.org/officeDocument/2006/relationships/image" Target="../media/image14.svg"/><Relationship Id="rId2" Type="http://schemas.openxmlformats.org/officeDocument/2006/relationships/image" Target="../media/image9.png"/><Relationship Id="rId1" Type="http://schemas.openxmlformats.org/officeDocument/2006/relationships/slideLayout" Target="../slideLayouts/slideLayout7.xml"/><Relationship Id="rId6" Type="http://schemas.openxmlformats.org/officeDocument/2006/relationships/image" Target="../media/image13.png"/><Relationship Id="rId5" Type="http://schemas.openxmlformats.org/officeDocument/2006/relationships/image" Target="../media/image12.svg"/><Relationship Id="rId10" Type="http://schemas.openxmlformats.org/officeDocument/2006/relationships/image" Target="../media/image18.svg"/><Relationship Id="rId4" Type="http://schemas.openxmlformats.org/officeDocument/2006/relationships/image" Target="../media/image11.png"/><Relationship Id="rId9" Type="http://schemas.openxmlformats.org/officeDocument/2006/relationships/image" Target="../media/image17.png"/></Relationships>
</file>

<file path=ppt/slides/_rels/slide42.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0.svg"/><Relationship Id="rId7" Type="http://schemas.openxmlformats.org/officeDocument/2006/relationships/image" Target="../media/image14.svg"/><Relationship Id="rId2" Type="http://schemas.openxmlformats.org/officeDocument/2006/relationships/image" Target="../media/image9.png"/><Relationship Id="rId1" Type="http://schemas.openxmlformats.org/officeDocument/2006/relationships/slideLayout" Target="../slideLayouts/slideLayout7.xml"/><Relationship Id="rId6" Type="http://schemas.openxmlformats.org/officeDocument/2006/relationships/image" Target="../media/image13.png"/><Relationship Id="rId5" Type="http://schemas.openxmlformats.org/officeDocument/2006/relationships/image" Target="../media/image12.svg"/><Relationship Id="rId10" Type="http://schemas.openxmlformats.org/officeDocument/2006/relationships/image" Target="../media/image18.svg"/><Relationship Id="rId4" Type="http://schemas.openxmlformats.org/officeDocument/2006/relationships/image" Target="../media/image11.png"/><Relationship Id="rId9" Type="http://schemas.openxmlformats.org/officeDocument/2006/relationships/image" Target="../media/image17.png"/></Relationships>
</file>

<file path=ppt/slides/_rels/slide43.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0.svg"/><Relationship Id="rId7" Type="http://schemas.openxmlformats.org/officeDocument/2006/relationships/image" Target="../media/image14.svg"/><Relationship Id="rId2" Type="http://schemas.openxmlformats.org/officeDocument/2006/relationships/image" Target="../media/image9.png"/><Relationship Id="rId1" Type="http://schemas.openxmlformats.org/officeDocument/2006/relationships/slideLayout" Target="../slideLayouts/slideLayout7.xml"/><Relationship Id="rId6" Type="http://schemas.openxmlformats.org/officeDocument/2006/relationships/image" Target="../media/image13.png"/><Relationship Id="rId5" Type="http://schemas.openxmlformats.org/officeDocument/2006/relationships/image" Target="../media/image12.svg"/><Relationship Id="rId10" Type="http://schemas.openxmlformats.org/officeDocument/2006/relationships/image" Target="../media/image18.svg"/><Relationship Id="rId4" Type="http://schemas.openxmlformats.org/officeDocument/2006/relationships/image" Target="../media/image11.png"/><Relationship Id="rId9" Type="http://schemas.openxmlformats.org/officeDocument/2006/relationships/image" Target="../media/image17.png"/></Relationships>
</file>

<file path=ppt/slides/_rels/slide44.xml.rels><?xml version="1.0" encoding="UTF-8" standalone="yes"?>
<Relationships xmlns="http://schemas.openxmlformats.org/package/2006/relationships"><Relationship Id="rId8" Type="http://schemas.openxmlformats.org/officeDocument/2006/relationships/image" Target="../media/image19.svg"/><Relationship Id="rId3" Type="http://schemas.openxmlformats.org/officeDocument/2006/relationships/image" Target="../media/image10.svg"/><Relationship Id="rId7" Type="http://schemas.openxmlformats.org/officeDocument/2006/relationships/image" Target="../media/image14.svg"/><Relationship Id="rId2" Type="http://schemas.openxmlformats.org/officeDocument/2006/relationships/image" Target="../media/image9.png"/><Relationship Id="rId1" Type="http://schemas.openxmlformats.org/officeDocument/2006/relationships/slideLayout" Target="../slideLayouts/slideLayout7.xml"/><Relationship Id="rId6" Type="http://schemas.openxmlformats.org/officeDocument/2006/relationships/image" Target="../media/image13.png"/><Relationship Id="rId5" Type="http://schemas.openxmlformats.org/officeDocument/2006/relationships/image" Target="../media/image12.svg"/><Relationship Id="rId4" Type="http://schemas.openxmlformats.org/officeDocument/2006/relationships/image" Target="../media/image11.png"/></Relationships>
</file>

<file path=ppt/slides/_rels/slide4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0.svg"/><Relationship Id="rId7" Type="http://schemas.openxmlformats.org/officeDocument/2006/relationships/image" Target="../media/image14.svg"/><Relationship Id="rId2" Type="http://schemas.openxmlformats.org/officeDocument/2006/relationships/image" Target="../media/image9.png"/><Relationship Id="rId1" Type="http://schemas.openxmlformats.org/officeDocument/2006/relationships/slideLayout" Target="../slideLayouts/slideLayout7.xml"/><Relationship Id="rId6" Type="http://schemas.openxmlformats.org/officeDocument/2006/relationships/image" Target="../media/image13.png"/><Relationship Id="rId11" Type="http://schemas.openxmlformats.org/officeDocument/2006/relationships/image" Target="../media/image21.svg"/><Relationship Id="rId5" Type="http://schemas.openxmlformats.org/officeDocument/2006/relationships/image" Target="../media/image12.svg"/><Relationship Id="rId10" Type="http://schemas.openxmlformats.org/officeDocument/2006/relationships/image" Target="../media/image20.png"/><Relationship Id="rId4" Type="http://schemas.openxmlformats.org/officeDocument/2006/relationships/image" Target="../media/image11.png"/><Relationship Id="rId9" Type="http://schemas.openxmlformats.org/officeDocument/2006/relationships/image" Target="../media/image18.svg"/></Relationships>
</file>

<file path=ppt/slides/_rels/slide46.xml.rels><?xml version="1.0" encoding="UTF-8" standalone="yes"?>
<Relationships xmlns="http://schemas.openxmlformats.org/package/2006/relationships"><Relationship Id="rId8" Type="http://schemas.openxmlformats.org/officeDocument/2006/relationships/image" Target="../media/image12.svg"/><Relationship Id="rId13" Type="http://schemas.openxmlformats.org/officeDocument/2006/relationships/image" Target="../media/image19.svg"/><Relationship Id="rId3" Type="http://schemas.openxmlformats.org/officeDocument/2006/relationships/image" Target="../media/image15.png"/><Relationship Id="rId7" Type="http://schemas.openxmlformats.org/officeDocument/2006/relationships/image" Target="../media/image11.png"/><Relationship Id="rId12" Type="http://schemas.openxmlformats.org/officeDocument/2006/relationships/image" Target="../media/image18.sv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10.svg"/><Relationship Id="rId11" Type="http://schemas.openxmlformats.org/officeDocument/2006/relationships/image" Target="../media/image17.png"/><Relationship Id="rId5" Type="http://schemas.openxmlformats.org/officeDocument/2006/relationships/image" Target="../media/image9.png"/><Relationship Id="rId15" Type="http://schemas.openxmlformats.org/officeDocument/2006/relationships/image" Target="../media/image21.svg"/><Relationship Id="rId10" Type="http://schemas.openxmlformats.org/officeDocument/2006/relationships/image" Target="../media/image14.svg"/><Relationship Id="rId4" Type="http://schemas.openxmlformats.org/officeDocument/2006/relationships/image" Target="../media/image16.svg"/><Relationship Id="rId9" Type="http://schemas.openxmlformats.org/officeDocument/2006/relationships/image" Target="../media/image13.png"/><Relationship Id="rId14" Type="http://schemas.openxmlformats.org/officeDocument/2006/relationships/image" Target="../media/image20.png"/></Relationships>
</file>

<file path=ppt/slides/_rels/slide4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svg"/><Relationship Id="rId7" Type="http://schemas.openxmlformats.org/officeDocument/2006/relationships/image" Target="../media/image14.svg"/><Relationship Id="rId2" Type="http://schemas.openxmlformats.org/officeDocument/2006/relationships/image" Target="../media/image9.png"/><Relationship Id="rId1" Type="http://schemas.openxmlformats.org/officeDocument/2006/relationships/slideLayout" Target="../slideLayouts/slideLayout7.xml"/><Relationship Id="rId6" Type="http://schemas.openxmlformats.org/officeDocument/2006/relationships/image" Target="../media/image13.png"/><Relationship Id="rId11" Type="http://schemas.openxmlformats.org/officeDocument/2006/relationships/image" Target="../media/image18.svg"/><Relationship Id="rId5" Type="http://schemas.openxmlformats.org/officeDocument/2006/relationships/image" Target="../media/image12.sv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svg"/></Relationships>
</file>

<file path=ppt/slides/_rels/slide4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svg"/><Relationship Id="rId7" Type="http://schemas.openxmlformats.org/officeDocument/2006/relationships/image" Target="../media/image14.svg"/><Relationship Id="rId12" Type="http://schemas.openxmlformats.org/officeDocument/2006/relationships/image" Target="../media/image19.svg"/><Relationship Id="rId2" Type="http://schemas.openxmlformats.org/officeDocument/2006/relationships/image" Target="../media/image9.png"/><Relationship Id="rId1" Type="http://schemas.openxmlformats.org/officeDocument/2006/relationships/slideLayout" Target="../slideLayouts/slideLayout7.xml"/><Relationship Id="rId6" Type="http://schemas.openxmlformats.org/officeDocument/2006/relationships/image" Target="../media/image13.png"/><Relationship Id="rId11" Type="http://schemas.openxmlformats.org/officeDocument/2006/relationships/image" Target="../media/image18.svg"/><Relationship Id="rId5" Type="http://schemas.openxmlformats.org/officeDocument/2006/relationships/image" Target="../media/image12.sv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svg"/></Relationships>
</file>

<file path=ppt/slides/_rels/slide4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svg"/><Relationship Id="rId7" Type="http://schemas.openxmlformats.org/officeDocument/2006/relationships/image" Target="../media/image14.svg"/><Relationship Id="rId12" Type="http://schemas.openxmlformats.org/officeDocument/2006/relationships/image" Target="../media/image19.svg"/><Relationship Id="rId2" Type="http://schemas.openxmlformats.org/officeDocument/2006/relationships/image" Target="../media/image9.png"/><Relationship Id="rId1" Type="http://schemas.openxmlformats.org/officeDocument/2006/relationships/slideLayout" Target="../slideLayouts/slideLayout7.xml"/><Relationship Id="rId6" Type="http://schemas.openxmlformats.org/officeDocument/2006/relationships/image" Target="../media/image13.png"/><Relationship Id="rId11" Type="http://schemas.openxmlformats.org/officeDocument/2006/relationships/image" Target="../media/image18.svg"/><Relationship Id="rId5" Type="http://schemas.openxmlformats.org/officeDocument/2006/relationships/image" Target="../media/image12.sv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svg"/></Relationships>
</file>

<file path=ppt/slides/_rels/slide5.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openxmlformats.org/officeDocument/2006/relationships/chart" Target="../charts/chart5.xml"/></Relationships>
</file>

<file path=ppt/slides/_rels/slide5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svg"/><Relationship Id="rId7" Type="http://schemas.openxmlformats.org/officeDocument/2006/relationships/image" Target="../media/image14.svg"/><Relationship Id="rId2" Type="http://schemas.openxmlformats.org/officeDocument/2006/relationships/image" Target="../media/image9.png"/><Relationship Id="rId1" Type="http://schemas.openxmlformats.org/officeDocument/2006/relationships/slideLayout" Target="../slideLayouts/slideLayout7.xml"/><Relationship Id="rId6" Type="http://schemas.openxmlformats.org/officeDocument/2006/relationships/image" Target="../media/image13.png"/><Relationship Id="rId11" Type="http://schemas.openxmlformats.org/officeDocument/2006/relationships/image" Target="../media/image18.svg"/><Relationship Id="rId5" Type="http://schemas.openxmlformats.org/officeDocument/2006/relationships/image" Target="../media/image12.sv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svg"/></Relationships>
</file>

<file path=ppt/slides/_rels/slide5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0.svg"/><Relationship Id="rId7" Type="http://schemas.openxmlformats.org/officeDocument/2006/relationships/image" Target="../media/image14.svg"/><Relationship Id="rId2" Type="http://schemas.openxmlformats.org/officeDocument/2006/relationships/image" Target="../media/image9.png"/><Relationship Id="rId1" Type="http://schemas.openxmlformats.org/officeDocument/2006/relationships/slideLayout" Target="../slideLayouts/slideLayout7.xml"/><Relationship Id="rId6" Type="http://schemas.openxmlformats.org/officeDocument/2006/relationships/image" Target="../media/image13.png"/><Relationship Id="rId5" Type="http://schemas.openxmlformats.org/officeDocument/2006/relationships/image" Target="../media/image12.svg"/><Relationship Id="rId4" Type="http://schemas.openxmlformats.org/officeDocument/2006/relationships/image" Target="../media/image11.png"/><Relationship Id="rId9" Type="http://schemas.openxmlformats.org/officeDocument/2006/relationships/image" Target="../media/image18.svg"/></Relationships>
</file>

<file path=ppt/slides/_rels/slide5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svg"/><Relationship Id="rId7" Type="http://schemas.openxmlformats.org/officeDocument/2006/relationships/image" Target="../media/image14.svg"/><Relationship Id="rId2" Type="http://schemas.openxmlformats.org/officeDocument/2006/relationships/image" Target="../media/image9.png"/><Relationship Id="rId1" Type="http://schemas.openxmlformats.org/officeDocument/2006/relationships/slideLayout" Target="../slideLayouts/slideLayout7.xml"/><Relationship Id="rId6" Type="http://schemas.openxmlformats.org/officeDocument/2006/relationships/image" Target="../media/image13.png"/><Relationship Id="rId5" Type="http://schemas.openxmlformats.org/officeDocument/2006/relationships/image" Target="../media/image12.svg"/><Relationship Id="rId4" Type="http://schemas.openxmlformats.org/officeDocument/2006/relationships/image" Target="../media/image11.png"/><Relationship Id="rId9" Type="http://schemas.openxmlformats.org/officeDocument/2006/relationships/image" Target="../media/image16.sv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3" Type="http://schemas.microsoft.com/office/2018/10/relationships/comments" Target="../comments/modernComment_117_A0057CAA.xml"/><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chart" Target="../charts/chart7.xml"/></Relationships>
</file>

<file path=ppt/slides/_rels/slide7.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5.xml"/><Relationship Id="rId1" Type="http://schemas.openxmlformats.org/officeDocument/2006/relationships/slideLayout" Target="../slideLayouts/slideLayout8.xml"/><Relationship Id="rId4" Type="http://schemas.openxmlformats.org/officeDocument/2006/relationships/chart" Target="../charts/chart9.xml"/></Relationships>
</file>

<file path=ppt/slides/_rels/slide8.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chart" Target="../charts/chart11.xml"/></Relationships>
</file>

<file path=ppt/slides/_rels/slide9.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7.xml"/><Relationship Id="rId1" Type="http://schemas.openxmlformats.org/officeDocument/2006/relationships/slideLayout" Target="../slideLayouts/slideLayout8.xml"/><Relationship Id="rId4" Type="http://schemas.openxmlformats.org/officeDocument/2006/relationships/chart" Target="../charts/chart13.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EC224294-9D2F-9B4C-ABA0-06869EDAB428}"/>
              </a:ext>
            </a:extLst>
          </p:cNvPr>
          <p:cNvSpPr>
            <a:spLocks noGrp="1"/>
          </p:cNvSpPr>
          <p:nvPr>
            <p:ph type="body" sz="quarter" idx="10"/>
          </p:nvPr>
        </p:nvSpPr>
        <p:spPr>
          <a:xfrm>
            <a:off x="1188624" y="3379376"/>
            <a:ext cx="8574502" cy="1952509"/>
          </a:xfrm>
        </p:spPr>
        <p:txBody>
          <a:bodyPr vert="horz" lIns="91440" tIns="45720" rIns="91440" bIns="45720" rtlCol="0" anchor="t">
            <a:noAutofit/>
          </a:bodyPr>
          <a:lstStyle/>
          <a:p>
            <a:pPr algn="l"/>
            <a:r>
              <a:rPr lang="es-CL" sz="4000">
                <a:solidFill>
                  <a:srgbClr val="1F4E79"/>
                </a:solidFill>
                <a:latin typeface="gobCL" pitchFamily="50" charset="0"/>
                <a:ea typeface="+mn-ea"/>
                <a:cs typeface="+mn-cs"/>
              </a:rPr>
              <a:t>Proyecto de ley Reajuste General de Remuneraciones, aguinaldos y otros beneficios que indica</a:t>
            </a:r>
            <a:endParaRPr lang="es-ES" sz="4000">
              <a:solidFill>
                <a:srgbClr val="1F4E79"/>
              </a:solidFill>
              <a:latin typeface="gobCL" pitchFamily="50" charset="0"/>
              <a:ea typeface="Verdana"/>
              <a:cs typeface="+mn-cs"/>
            </a:endParaRPr>
          </a:p>
        </p:txBody>
      </p:sp>
      <p:cxnSp>
        <p:nvCxnSpPr>
          <p:cNvPr id="7" name="Conector recto 6">
            <a:extLst>
              <a:ext uri="{FF2B5EF4-FFF2-40B4-BE49-F238E27FC236}">
                <a16:creationId xmlns:a16="http://schemas.microsoft.com/office/drawing/2014/main" id="{90B7E8E4-4862-46B3-A20B-DEE02261D4C8}"/>
              </a:ext>
            </a:extLst>
          </p:cNvPr>
          <p:cNvCxnSpPr>
            <a:cxnSpLocks/>
          </p:cNvCxnSpPr>
          <p:nvPr/>
        </p:nvCxnSpPr>
        <p:spPr>
          <a:xfrm>
            <a:off x="1275957" y="5051449"/>
            <a:ext cx="10306443" cy="0"/>
          </a:xfrm>
          <a:prstGeom prst="line">
            <a:avLst/>
          </a:prstGeom>
          <a:ln w="28575">
            <a:solidFill>
              <a:srgbClr val="2F5598"/>
            </a:solidFill>
          </a:ln>
        </p:spPr>
        <p:style>
          <a:lnRef idx="1">
            <a:schemeClr val="accent1"/>
          </a:lnRef>
          <a:fillRef idx="0">
            <a:schemeClr val="accent1"/>
          </a:fillRef>
          <a:effectRef idx="0">
            <a:schemeClr val="accent1"/>
          </a:effectRef>
          <a:fontRef idx="minor">
            <a:schemeClr val="tx1"/>
          </a:fontRef>
        </p:style>
      </p:cxnSp>
      <p:sp>
        <p:nvSpPr>
          <p:cNvPr id="8" name="CuadroTexto 7">
            <a:extLst>
              <a:ext uri="{FF2B5EF4-FFF2-40B4-BE49-F238E27FC236}">
                <a16:creationId xmlns:a16="http://schemas.microsoft.com/office/drawing/2014/main" id="{A8D67202-1888-4DCF-8E69-1CAD61C6FA27}"/>
              </a:ext>
            </a:extLst>
          </p:cNvPr>
          <p:cNvSpPr txBox="1"/>
          <p:nvPr/>
        </p:nvSpPr>
        <p:spPr>
          <a:xfrm>
            <a:off x="8591399" y="6129239"/>
            <a:ext cx="3000526" cy="400110"/>
          </a:xfrm>
          <a:prstGeom prst="rect">
            <a:avLst/>
          </a:prstGeom>
          <a:noFill/>
        </p:spPr>
        <p:txBody>
          <a:bodyPr wrap="square" lIns="91440" tIns="45720" rIns="91440" bIns="45720" rtlCol="0" anchor="t">
            <a:spAutoFit/>
          </a:bodyPr>
          <a:lstStyle/>
          <a:p>
            <a:pPr algn="r"/>
            <a:r>
              <a:rPr lang="es-CL" sz="2000" b="1">
                <a:solidFill>
                  <a:srgbClr val="1F4E79"/>
                </a:solidFill>
                <a:latin typeface="gobCL"/>
              </a:rPr>
              <a:t>11 de diciembre de 2023</a:t>
            </a:r>
          </a:p>
        </p:txBody>
      </p:sp>
    </p:spTree>
    <p:extLst>
      <p:ext uri="{BB962C8B-B14F-4D97-AF65-F5344CB8AC3E}">
        <p14:creationId xmlns:p14="http://schemas.microsoft.com/office/powerpoint/2010/main" val="38367896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a:extLst>
              <a:ext uri="{FF2B5EF4-FFF2-40B4-BE49-F238E27FC236}">
                <a16:creationId xmlns:a16="http://schemas.microsoft.com/office/drawing/2014/main" id="{79FF9171-4EFA-C7FC-9453-8B12E46DE596}"/>
              </a:ext>
            </a:extLst>
          </p:cNvPr>
          <p:cNvSpPr txBox="1"/>
          <p:nvPr/>
        </p:nvSpPr>
        <p:spPr>
          <a:xfrm>
            <a:off x="569271" y="221337"/>
            <a:ext cx="7699240" cy="1323439"/>
          </a:xfrm>
          <a:prstGeom prst="rect">
            <a:avLst/>
          </a:prstGeom>
          <a:noFill/>
        </p:spPr>
        <p:txBody>
          <a:bodyPr wrap="square" rtlCol="0">
            <a:spAutoFit/>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a:ln>
                  <a:noFill/>
                </a:ln>
                <a:solidFill>
                  <a:srgbClr val="1F4E79"/>
                </a:solidFill>
                <a:effectLst/>
                <a:uLnTx/>
                <a:uFillTx/>
                <a:latin typeface="gobCL"/>
                <a:ea typeface="+mn-ea"/>
                <a:cs typeface="+mn-cs"/>
              </a:rPr>
              <a:t>Después de cuatro años de gran volatilidad, el escenario económico 2024 apunta a una expansión en 12 meses y trimestre a trimestre en todas las proyecciones. Se espera que la inflación llegue al 3% a mediados de año</a:t>
            </a:r>
          </a:p>
        </p:txBody>
      </p:sp>
      <p:sp>
        <p:nvSpPr>
          <p:cNvPr id="5" name="CuadroTexto 4">
            <a:extLst>
              <a:ext uri="{FF2B5EF4-FFF2-40B4-BE49-F238E27FC236}">
                <a16:creationId xmlns:a16="http://schemas.microsoft.com/office/drawing/2014/main" id="{3D582170-C71A-3D89-14C9-929352417B88}"/>
              </a:ext>
            </a:extLst>
          </p:cNvPr>
          <p:cNvSpPr txBox="1"/>
          <p:nvPr/>
        </p:nvSpPr>
        <p:spPr>
          <a:xfrm>
            <a:off x="719846" y="2045730"/>
            <a:ext cx="10175132" cy="338554"/>
          </a:xfrm>
          <a:prstGeom prst="rect">
            <a:avLst/>
          </a:prstGeom>
          <a:noFill/>
        </p:spPr>
        <p:txBody>
          <a:bodyPr wrap="square">
            <a:spAutoFit/>
          </a:bodyPr>
          <a:lstStyle/>
          <a:p>
            <a:pPr algn="ctr"/>
            <a:r>
              <a:rPr lang="es-ES" sz="1600" b="1" i="0" u="none" strike="noStrike" baseline="0">
                <a:solidFill>
                  <a:srgbClr val="000000"/>
                </a:solidFill>
                <a:latin typeface="gobCL" panose="02000603050000020004"/>
              </a:rPr>
              <a:t>Proyecciones a 2024</a:t>
            </a:r>
            <a:endParaRPr lang="en-US" sz="1600">
              <a:latin typeface="gobCL" panose="02000603050000020004"/>
            </a:endParaRPr>
          </a:p>
        </p:txBody>
      </p:sp>
      <p:graphicFrame>
        <p:nvGraphicFramePr>
          <p:cNvPr id="6" name="Tabla 5">
            <a:extLst>
              <a:ext uri="{FF2B5EF4-FFF2-40B4-BE49-F238E27FC236}">
                <a16:creationId xmlns:a16="http://schemas.microsoft.com/office/drawing/2014/main" id="{F95AEF15-4417-3A54-EB90-74257B5E1D62}"/>
              </a:ext>
            </a:extLst>
          </p:cNvPr>
          <p:cNvGraphicFramePr>
            <a:graphicFrameLocks noGrp="1"/>
          </p:cNvGraphicFramePr>
          <p:nvPr>
            <p:extLst>
              <p:ext uri="{D42A27DB-BD31-4B8C-83A1-F6EECF244321}">
                <p14:modId xmlns:p14="http://schemas.microsoft.com/office/powerpoint/2010/main" val="721063685"/>
              </p:ext>
            </p:extLst>
          </p:nvPr>
        </p:nvGraphicFramePr>
        <p:xfrm>
          <a:off x="687996" y="2405690"/>
          <a:ext cx="10226438" cy="1571879"/>
        </p:xfrm>
        <a:graphic>
          <a:graphicData uri="http://schemas.openxmlformats.org/drawingml/2006/table">
            <a:tbl>
              <a:tblPr/>
              <a:tblGrid>
                <a:gridCol w="2813961">
                  <a:extLst>
                    <a:ext uri="{9D8B030D-6E8A-4147-A177-3AD203B41FA5}">
                      <a16:colId xmlns:a16="http://schemas.microsoft.com/office/drawing/2014/main" val="266988792"/>
                    </a:ext>
                  </a:extLst>
                </a:gridCol>
                <a:gridCol w="2227634">
                  <a:extLst>
                    <a:ext uri="{9D8B030D-6E8A-4147-A177-3AD203B41FA5}">
                      <a16:colId xmlns:a16="http://schemas.microsoft.com/office/drawing/2014/main" val="2830853817"/>
                    </a:ext>
                  </a:extLst>
                </a:gridCol>
                <a:gridCol w="2546465">
                  <a:extLst>
                    <a:ext uri="{9D8B030D-6E8A-4147-A177-3AD203B41FA5}">
                      <a16:colId xmlns:a16="http://schemas.microsoft.com/office/drawing/2014/main" val="2190057609"/>
                    </a:ext>
                  </a:extLst>
                </a:gridCol>
                <a:gridCol w="2638378">
                  <a:extLst>
                    <a:ext uri="{9D8B030D-6E8A-4147-A177-3AD203B41FA5}">
                      <a16:colId xmlns:a16="http://schemas.microsoft.com/office/drawing/2014/main" val="2681209301"/>
                    </a:ext>
                  </a:extLst>
                </a:gridCol>
              </a:tblGrid>
              <a:tr h="290279">
                <a:tc>
                  <a:txBody>
                    <a:bodyPr/>
                    <a:lstStyle/>
                    <a:p>
                      <a:pPr algn="ctr" fontAlgn="b"/>
                      <a:r>
                        <a:rPr lang="es-CL" sz="1600" b="0" i="0" u="none" strike="noStrike">
                          <a:solidFill>
                            <a:srgbClr val="FFFFFF"/>
                          </a:solidFill>
                          <a:effectLst/>
                          <a:latin typeface="GobCL" panose="02000603050000020004"/>
                        </a:rPr>
                        <a:t> </a:t>
                      </a:r>
                    </a:p>
                  </a:txBody>
                  <a:tcPr marL="9525" marR="9525" marT="9525" marB="0" anchor="ctr">
                    <a:lnL>
                      <a:noFill/>
                    </a:lnL>
                    <a:lnR>
                      <a:noFill/>
                    </a:lnR>
                    <a:lnT>
                      <a:noFill/>
                    </a:lnT>
                    <a:lnB>
                      <a:noFill/>
                    </a:lnB>
                    <a:solidFill>
                      <a:srgbClr val="1F4E79"/>
                    </a:solidFill>
                  </a:tcPr>
                </a:tc>
                <a:tc>
                  <a:txBody>
                    <a:bodyPr/>
                    <a:lstStyle/>
                    <a:p>
                      <a:pPr algn="ctr" rtl="0" fontAlgn="b"/>
                      <a:r>
                        <a:rPr lang="es-CL" sz="1600" b="1" i="0" u="none" strike="noStrike">
                          <a:solidFill>
                            <a:srgbClr val="FFFFFF"/>
                          </a:solidFill>
                          <a:effectLst/>
                          <a:latin typeface="GobCL" panose="02000603050000020004"/>
                        </a:rPr>
                        <a:t>PIB</a:t>
                      </a:r>
                    </a:p>
                  </a:txBody>
                  <a:tcPr marL="9525" marR="9525" marT="9525" marB="0" anchor="ctr">
                    <a:lnL>
                      <a:noFill/>
                    </a:lnL>
                    <a:lnR>
                      <a:noFill/>
                    </a:lnR>
                    <a:lnT>
                      <a:noFill/>
                    </a:lnT>
                    <a:lnB>
                      <a:noFill/>
                    </a:lnB>
                    <a:solidFill>
                      <a:srgbClr val="1F4E79"/>
                    </a:solidFill>
                  </a:tcPr>
                </a:tc>
                <a:tc>
                  <a:txBody>
                    <a:bodyPr/>
                    <a:lstStyle/>
                    <a:p>
                      <a:pPr algn="ctr" rtl="0" fontAlgn="b"/>
                      <a:r>
                        <a:rPr lang="es-CL" sz="1600" b="1" i="0" u="none" strike="noStrike">
                          <a:solidFill>
                            <a:srgbClr val="FFFFFF"/>
                          </a:solidFill>
                          <a:effectLst/>
                          <a:latin typeface="GobCL" panose="02000603050000020004"/>
                        </a:rPr>
                        <a:t>Inflación promedio 2024</a:t>
                      </a:r>
                    </a:p>
                  </a:txBody>
                  <a:tcPr marL="9525" marR="9525" marT="9525" marB="0" anchor="ctr">
                    <a:lnL>
                      <a:noFill/>
                    </a:lnL>
                    <a:lnR>
                      <a:noFill/>
                    </a:lnR>
                    <a:lnT>
                      <a:noFill/>
                    </a:lnT>
                    <a:lnB>
                      <a:noFill/>
                    </a:lnB>
                    <a:solidFill>
                      <a:srgbClr val="1F4E79"/>
                    </a:solidFill>
                  </a:tcPr>
                </a:tc>
                <a:tc>
                  <a:txBody>
                    <a:bodyPr/>
                    <a:lstStyle/>
                    <a:p>
                      <a:pPr algn="ctr" rtl="0" fontAlgn="b"/>
                      <a:r>
                        <a:rPr lang="es-CL" sz="1600" b="1" i="0" u="none" strike="noStrike">
                          <a:solidFill>
                            <a:srgbClr val="FFFFFF"/>
                          </a:solidFill>
                          <a:effectLst/>
                          <a:latin typeface="GobCL" panose="02000603050000020004"/>
                        </a:rPr>
                        <a:t>Inflación a diciembre 2024</a:t>
                      </a:r>
                    </a:p>
                  </a:txBody>
                  <a:tcPr marL="9525" marR="9525" marT="9525" marB="0" anchor="ctr">
                    <a:lnL>
                      <a:noFill/>
                    </a:lnL>
                    <a:lnR>
                      <a:noFill/>
                    </a:lnR>
                    <a:lnT>
                      <a:noFill/>
                    </a:lnT>
                    <a:lnB>
                      <a:noFill/>
                    </a:lnB>
                    <a:solidFill>
                      <a:srgbClr val="1F4E79"/>
                    </a:solidFill>
                  </a:tcPr>
                </a:tc>
                <a:extLst>
                  <a:ext uri="{0D108BD9-81ED-4DB2-BD59-A6C34878D82A}">
                    <a16:rowId xmlns:a16="http://schemas.microsoft.com/office/drawing/2014/main" val="3574661447"/>
                  </a:ext>
                </a:extLst>
              </a:tr>
              <a:tr h="320400">
                <a:tc>
                  <a:txBody>
                    <a:bodyPr/>
                    <a:lstStyle/>
                    <a:p>
                      <a:pPr algn="ctr" rtl="0" fontAlgn="ctr"/>
                      <a:r>
                        <a:rPr lang="es-CL" sz="1600" b="1" i="0" u="none" strike="noStrike">
                          <a:solidFill>
                            <a:srgbClr val="1F4E79"/>
                          </a:solidFill>
                          <a:effectLst/>
                          <a:latin typeface="GobCL" panose="02000603050000020004"/>
                        </a:rPr>
                        <a:t>IFP (MH) (3)</a:t>
                      </a:r>
                    </a:p>
                  </a:txBody>
                  <a:tcPr marL="9525" marR="9525" marT="9525" marB="0" anchor="ctr">
                    <a:lnL>
                      <a:noFill/>
                    </a:lnL>
                    <a:lnR>
                      <a:noFill/>
                    </a:lnR>
                    <a:lnT>
                      <a:noFill/>
                    </a:lnT>
                    <a:lnB>
                      <a:noFill/>
                    </a:lnB>
                  </a:tcPr>
                </a:tc>
                <a:tc>
                  <a:txBody>
                    <a:bodyPr/>
                    <a:lstStyle/>
                    <a:p>
                      <a:pPr algn="ctr" rtl="0" fontAlgn="ctr"/>
                      <a:r>
                        <a:rPr lang="es-CL" sz="1600" b="0" i="0" u="none" strike="noStrike">
                          <a:solidFill>
                            <a:srgbClr val="1F4E79"/>
                          </a:solidFill>
                          <a:effectLst/>
                          <a:latin typeface="GobCL" panose="02000603050000020004"/>
                        </a:rPr>
                        <a:t>2,5</a:t>
                      </a:r>
                    </a:p>
                  </a:txBody>
                  <a:tcPr marL="9525" marR="9525" marT="9525" marB="0" anchor="ctr">
                    <a:lnL>
                      <a:noFill/>
                    </a:lnL>
                    <a:lnR>
                      <a:noFill/>
                    </a:lnR>
                    <a:lnT>
                      <a:noFill/>
                    </a:lnT>
                    <a:lnB>
                      <a:noFill/>
                    </a:lnB>
                  </a:tcPr>
                </a:tc>
                <a:tc>
                  <a:txBody>
                    <a:bodyPr/>
                    <a:lstStyle/>
                    <a:p>
                      <a:pPr algn="ctr" rtl="0" fontAlgn="ctr"/>
                      <a:r>
                        <a:rPr lang="es-CL" sz="1600" b="0" i="0" u="none" strike="noStrike">
                          <a:solidFill>
                            <a:srgbClr val="1F4E79"/>
                          </a:solidFill>
                          <a:effectLst/>
                          <a:latin typeface="GobCL" panose="02000603050000020004"/>
                        </a:rPr>
                        <a:t>3,5</a:t>
                      </a:r>
                    </a:p>
                  </a:txBody>
                  <a:tcPr marL="9525" marR="9525" marT="9525" marB="0" anchor="ctr">
                    <a:lnL>
                      <a:noFill/>
                    </a:lnL>
                    <a:lnR>
                      <a:noFill/>
                    </a:lnR>
                    <a:lnT>
                      <a:noFill/>
                    </a:lnT>
                    <a:lnB>
                      <a:noFill/>
                    </a:lnB>
                  </a:tcPr>
                </a:tc>
                <a:tc>
                  <a:txBody>
                    <a:bodyPr/>
                    <a:lstStyle/>
                    <a:p>
                      <a:pPr algn="ctr" rtl="0" fontAlgn="ctr"/>
                      <a:r>
                        <a:rPr lang="es-CL" sz="1600" b="0" i="0" u="none" strike="noStrike">
                          <a:solidFill>
                            <a:srgbClr val="1F4E79"/>
                          </a:solidFill>
                          <a:effectLst/>
                          <a:latin typeface="GobCL" panose="02000603050000020004"/>
                        </a:rPr>
                        <a:t>3,0</a:t>
                      </a:r>
                    </a:p>
                  </a:txBody>
                  <a:tcPr marL="9525" marR="9525" marT="9525" marB="0" anchor="ctr">
                    <a:lnL>
                      <a:noFill/>
                    </a:lnL>
                    <a:lnR>
                      <a:noFill/>
                    </a:lnR>
                    <a:lnT>
                      <a:noFill/>
                    </a:lnT>
                    <a:lnB>
                      <a:noFill/>
                    </a:lnB>
                  </a:tcPr>
                </a:tc>
                <a:extLst>
                  <a:ext uri="{0D108BD9-81ED-4DB2-BD59-A6C34878D82A}">
                    <a16:rowId xmlns:a16="http://schemas.microsoft.com/office/drawing/2014/main" val="4137355148"/>
                  </a:ext>
                </a:extLst>
              </a:tr>
              <a:tr h="320400">
                <a:tc>
                  <a:txBody>
                    <a:bodyPr/>
                    <a:lstStyle/>
                    <a:p>
                      <a:pPr algn="ctr" rtl="0" fontAlgn="ctr"/>
                      <a:r>
                        <a:rPr lang="es-CL" sz="1600" b="1" i="0" u="none" strike="noStrike">
                          <a:solidFill>
                            <a:srgbClr val="1F4E79"/>
                          </a:solidFill>
                          <a:effectLst/>
                          <a:latin typeface="GobCL" panose="02000603050000020004"/>
                        </a:rPr>
                        <a:t>EEE (mercado) (4)</a:t>
                      </a:r>
                    </a:p>
                  </a:txBody>
                  <a:tcPr marL="9525" marR="9525" marT="9525" marB="0" anchor="ctr">
                    <a:lnL>
                      <a:noFill/>
                    </a:lnL>
                    <a:lnR>
                      <a:noFill/>
                    </a:lnR>
                    <a:lnT>
                      <a:noFill/>
                    </a:lnT>
                    <a:lnB>
                      <a:noFill/>
                    </a:lnB>
                    <a:solidFill>
                      <a:srgbClr val="D9E1F2"/>
                    </a:solidFill>
                  </a:tcPr>
                </a:tc>
                <a:tc>
                  <a:txBody>
                    <a:bodyPr/>
                    <a:lstStyle/>
                    <a:p>
                      <a:pPr algn="ctr" rtl="0" fontAlgn="ctr"/>
                      <a:r>
                        <a:rPr lang="es-CL" sz="1600" b="0" i="0" u="none" strike="noStrike">
                          <a:solidFill>
                            <a:srgbClr val="1F4E79"/>
                          </a:solidFill>
                          <a:effectLst/>
                          <a:latin typeface="GobCL" panose="02000603050000020004"/>
                        </a:rPr>
                        <a:t>1,7 (1,0 – 2,0)</a:t>
                      </a:r>
                    </a:p>
                  </a:txBody>
                  <a:tcPr marL="9525" marR="9525" marT="9525" marB="0" anchor="ctr">
                    <a:lnL>
                      <a:noFill/>
                    </a:lnL>
                    <a:lnR>
                      <a:noFill/>
                    </a:lnR>
                    <a:lnT>
                      <a:noFill/>
                    </a:lnT>
                    <a:lnB>
                      <a:noFill/>
                    </a:lnB>
                    <a:solidFill>
                      <a:srgbClr val="D9E1F2"/>
                    </a:solidFill>
                  </a:tcPr>
                </a:tc>
                <a:tc>
                  <a:txBody>
                    <a:bodyPr/>
                    <a:lstStyle/>
                    <a:p>
                      <a:pPr algn="ctr" rtl="0" fontAlgn="ctr"/>
                      <a:r>
                        <a:rPr lang="es-CL" sz="1600" b="0" i="0" u="none" strike="noStrike">
                          <a:solidFill>
                            <a:srgbClr val="1F4E79"/>
                          </a:solidFill>
                          <a:effectLst/>
                          <a:latin typeface="GobCL" panose="02000603050000020004"/>
                        </a:rPr>
                        <a:t> </a:t>
                      </a:r>
                    </a:p>
                  </a:txBody>
                  <a:tcPr marL="9525" marR="9525" marT="9525" marB="0" anchor="ctr">
                    <a:lnL>
                      <a:noFill/>
                    </a:lnL>
                    <a:lnR>
                      <a:noFill/>
                    </a:lnR>
                    <a:lnT>
                      <a:noFill/>
                    </a:lnT>
                    <a:lnB>
                      <a:noFill/>
                    </a:lnB>
                    <a:solidFill>
                      <a:srgbClr val="D9E1F2"/>
                    </a:solidFill>
                  </a:tcPr>
                </a:tc>
                <a:tc>
                  <a:txBody>
                    <a:bodyPr/>
                    <a:lstStyle/>
                    <a:p>
                      <a:pPr algn="ctr" rtl="0" fontAlgn="ctr"/>
                      <a:r>
                        <a:rPr lang="es-CL" sz="1600" b="0" i="0" u="none" strike="noStrike">
                          <a:solidFill>
                            <a:srgbClr val="1F4E79"/>
                          </a:solidFill>
                          <a:effectLst/>
                          <a:latin typeface="GobCL" panose="02000603050000020004"/>
                        </a:rPr>
                        <a:t>3,3</a:t>
                      </a:r>
                    </a:p>
                  </a:txBody>
                  <a:tcPr marL="9525" marR="9525" marT="9525" marB="0" anchor="ctr">
                    <a:lnL>
                      <a:noFill/>
                    </a:lnL>
                    <a:lnR>
                      <a:noFill/>
                    </a:lnR>
                    <a:lnT>
                      <a:noFill/>
                    </a:lnT>
                    <a:lnB>
                      <a:noFill/>
                    </a:lnB>
                    <a:solidFill>
                      <a:srgbClr val="D9E1F2"/>
                    </a:solidFill>
                  </a:tcPr>
                </a:tc>
                <a:extLst>
                  <a:ext uri="{0D108BD9-81ED-4DB2-BD59-A6C34878D82A}">
                    <a16:rowId xmlns:a16="http://schemas.microsoft.com/office/drawing/2014/main" val="3852526302"/>
                  </a:ext>
                </a:extLst>
              </a:tr>
              <a:tr h="320400">
                <a:tc>
                  <a:txBody>
                    <a:bodyPr/>
                    <a:lstStyle/>
                    <a:p>
                      <a:pPr algn="ctr" rtl="0" fontAlgn="ctr"/>
                      <a:r>
                        <a:rPr lang="es-CL" sz="1600" b="1" i="0" u="none" strike="noStrike">
                          <a:solidFill>
                            <a:srgbClr val="1F4E79"/>
                          </a:solidFill>
                          <a:effectLst/>
                          <a:latin typeface="GobCL" panose="02000603050000020004"/>
                        </a:rPr>
                        <a:t>IPoM (BCCh)</a:t>
                      </a:r>
                    </a:p>
                  </a:txBody>
                  <a:tcPr marL="9525" marR="9525" marT="9525" marB="0" anchor="ctr">
                    <a:lnL>
                      <a:noFill/>
                    </a:lnL>
                    <a:lnR>
                      <a:noFill/>
                    </a:lnR>
                    <a:lnT>
                      <a:noFill/>
                    </a:lnT>
                    <a:lnB>
                      <a:noFill/>
                    </a:lnB>
                  </a:tcPr>
                </a:tc>
                <a:tc>
                  <a:txBody>
                    <a:bodyPr/>
                    <a:lstStyle/>
                    <a:p>
                      <a:pPr algn="ctr" rtl="0" fontAlgn="ctr"/>
                      <a:r>
                        <a:rPr lang="es-CL" sz="1600" b="0" i="0" u="none" strike="noStrike">
                          <a:solidFill>
                            <a:srgbClr val="1F4E79"/>
                          </a:solidFill>
                          <a:effectLst/>
                          <a:latin typeface="GobCL" panose="02000603050000020004"/>
                        </a:rPr>
                        <a:t>1,25 - 2,25</a:t>
                      </a:r>
                    </a:p>
                  </a:txBody>
                  <a:tcPr marL="9525" marR="9525" marT="9525" marB="0" anchor="ctr">
                    <a:lnL>
                      <a:noFill/>
                    </a:lnL>
                    <a:lnR>
                      <a:noFill/>
                    </a:lnR>
                    <a:lnT>
                      <a:noFill/>
                    </a:lnT>
                    <a:lnB>
                      <a:noFill/>
                    </a:lnB>
                  </a:tcPr>
                </a:tc>
                <a:tc>
                  <a:txBody>
                    <a:bodyPr/>
                    <a:lstStyle/>
                    <a:p>
                      <a:pPr algn="ctr" rtl="0" fontAlgn="ctr"/>
                      <a:r>
                        <a:rPr lang="es-CL" sz="1600" b="0" i="0" u="none" strike="noStrike">
                          <a:solidFill>
                            <a:srgbClr val="1F4E79"/>
                          </a:solidFill>
                          <a:effectLst/>
                          <a:latin typeface="GobCL" panose="02000603050000020004"/>
                        </a:rPr>
                        <a:t>3,5</a:t>
                      </a:r>
                    </a:p>
                  </a:txBody>
                  <a:tcPr marL="9525" marR="9525" marT="9525" marB="0" anchor="ctr">
                    <a:lnL>
                      <a:noFill/>
                    </a:lnL>
                    <a:lnR>
                      <a:noFill/>
                    </a:lnR>
                    <a:lnT>
                      <a:noFill/>
                    </a:lnT>
                    <a:lnB>
                      <a:noFill/>
                    </a:lnB>
                  </a:tcPr>
                </a:tc>
                <a:tc>
                  <a:txBody>
                    <a:bodyPr/>
                    <a:lstStyle/>
                    <a:p>
                      <a:pPr algn="ctr" rtl="0" fontAlgn="ctr"/>
                      <a:r>
                        <a:rPr lang="es-CL" sz="1600" b="0" i="0" u="none" strike="noStrike">
                          <a:solidFill>
                            <a:srgbClr val="1F4E79"/>
                          </a:solidFill>
                          <a:effectLst/>
                          <a:latin typeface="GobCL" panose="02000603050000020004"/>
                        </a:rPr>
                        <a:t>3,0</a:t>
                      </a:r>
                    </a:p>
                  </a:txBody>
                  <a:tcPr marL="9525" marR="9525" marT="9525" marB="0" anchor="ctr">
                    <a:lnL>
                      <a:noFill/>
                    </a:lnL>
                    <a:lnR>
                      <a:noFill/>
                    </a:lnR>
                    <a:lnT>
                      <a:noFill/>
                    </a:lnT>
                    <a:lnB>
                      <a:noFill/>
                    </a:lnB>
                  </a:tcPr>
                </a:tc>
                <a:extLst>
                  <a:ext uri="{0D108BD9-81ED-4DB2-BD59-A6C34878D82A}">
                    <a16:rowId xmlns:a16="http://schemas.microsoft.com/office/drawing/2014/main" val="3902796493"/>
                  </a:ext>
                </a:extLst>
              </a:tr>
              <a:tr h="320400">
                <a:tc>
                  <a:txBody>
                    <a:bodyPr/>
                    <a:lstStyle/>
                    <a:p>
                      <a:pPr algn="ctr" rtl="0" fontAlgn="ctr"/>
                      <a:r>
                        <a:rPr lang="es-CL" sz="1600" b="1" i="0" u="none" strike="noStrike">
                          <a:solidFill>
                            <a:srgbClr val="1F4E79"/>
                          </a:solidFill>
                          <a:effectLst/>
                          <a:latin typeface="GobCL" panose="02000603050000020004"/>
                        </a:rPr>
                        <a:t>Consensus Forecasts (5)</a:t>
                      </a:r>
                    </a:p>
                  </a:txBody>
                  <a:tcPr marL="9525" marR="9525" marT="9525" marB="0" anchor="ctr">
                    <a:lnL>
                      <a:noFill/>
                    </a:lnL>
                    <a:lnR>
                      <a:noFill/>
                    </a:lnR>
                    <a:lnT>
                      <a:noFill/>
                    </a:lnT>
                    <a:lnB>
                      <a:noFill/>
                    </a:lnB>
                    <a:solidFill>
                      <a:srgbClr val="D9E1F2"/>
                    </a:solidFill>
                  </a:tcPr>
                </a:tc>
                <a:tc>
                  <a:txBody>
                    <a:bodyPr/>
                    <a:lstStyle/>
                    <a:p>
                      <a:pPr algn="ctr" rtl="0" fontAlgn="ctr"/>
                      <a:r>
                        <a:rPr lang="es-CL" sz="1600" b="0" i="0" u="none" strike="noStrike">
                          <a:solidFill>
                            <a:srgbClr val="1F4E79"/>
                          </a:solidFill>
                          <a:effectLst/>
                          <a:latin typeface="GobCL" panose="02000603050000020004"/>
                        </a:rPr>
                        <a:t>1,8 (1,2 – 2,6)</a:t>
                      </a:r>
                    </a:p>
                  </a:txBody>
                  <a:tcPr marL="9525" marR="9525" marT="9525" marB="0" anchor="ctr">
                    <a:lnL>
                      <a:noFill/>
                    </a:lnL>
                    <a:lnR>
                      <a:noFill/>
                    </a:lnR>
                    <a:lnT>
                      <a:noFill/>
                    </a:lnT>
                    <a:lnB>
                      <a:noFill/>
                    </a:lnB>
                    <a:solidFill>
                      <a:srgbClr val="D9E1F2"/>
                    </a:solidFill>
                  </a:tcPr>
                </a:tc>
                <a:tc>
                  <a:txBody>
                    <a:bodyPr/>
                    <a:lstStyle/>
                    <a:p>
                      <a:pPr algn="ctr" rtl="0" fontAlgn="ctr"/>
                      <a:r>
                        <a:rPr lang="es-CL" sz="1600" b="0" i="0" u="none" strike="noStrike">
                          <a:solidFill>
                            <a:srgbClr val="1F4E79"/>
                          </a:solidFill>
                          <a:effectLst/>
                          <a:latin typeface="GobCL" panose="02000603050000020004"/>
                        </a:rPr>
                        <a:t> </a:t>
                      </a:r>
                    </a:p>
                  </a:txBody>
                  <a:tcPr marL="9525" marR="9525" marT="9525" marB="0" anchor="ctr">
                    <a:lnL>
                      <a:noFill/>
                    </a:lnL>
                    <a:lnR>
                      <a:noFill/>
                    </a:lnR>
                    <a:lnT>
                      <a:noFill/>
                    </a:lnT>
                    <a:lnB>
                      <a:noFill/>
                    </a:lnB>
                    <a:solidFill>
                      <a:srgbClr val="D9E1F2"/>
                    </a:solidFill>
                  </a:tcPr>
                </a:tc>
                <a:tc>
                  <a:txBody>
                    <a:bodyPr/>
                    <a:lstStyle/>
                    <a:p>
                      <a:pPr algn="ctr" rtl="0" fontAlgn="ctr"/>
                      <a:r>
                        <a:rPr lang="es-CL" sz="1600" b="0" i="0" u="none" strike="noStrike">
                          <a:solidFill>
                            <a:srgbClr val="1F4E79"/>
                          </a:solidFill>
                          <a:effectLst/>
                          <a:latin typeface="GobCL" panose="02000603050000020004"/>
                        </a:rPr>
                        <a:t>3,2</a:t>
                      </a:r>
                    </a:p>
                  </a:txBody>
                  <a:tcPr marL="9525" marR="9525" marT="9525" marB="0" anchor="ctr">
                    <a:lnL>
                      <a:noFill/>
                    </a:lnL>
                    <a:lnR>
                      <a:noFill/>
                    </a:lnR>
                    <a:lnT>
                      <a:noFill/>
                    </a:lnT>
                    <a:lnB>
                      <a:noFill/>
                    </a:lnB>
                    <a:solidFill>
                      <a:srgbClr val="D9E1F2"/>
                    </a:solidFill>
                  </a:tcPr>
                </a:tc>
                <a:extLst>
                  <a:ext uri="{0D108BD9-81ED-4DB2-BD59-A6C34878D82A}">
                    <a16:rowId xmlns:a16="http://schemas.microsoft.com/office/drawing/2014/main" val="691544698"/>
                  </a:ext>
                </a:extLst>
              </a:tr>
            </a:tbl>
          </a:graphicData>
        </a:graphic>
      </p:graphicFrame>
      <p:sp>
        <p:nvSpPr>
          <p:cNvPr id="10" name="Rectángulo 9">
            <a:extLst>
              <a:ext uri="{FF2B5EF4-FFF2-40B4-BE49-F238E27FC236}">
                <a16:creationId xmlns:a16="http://schemas.microsoft.com/office/drawing/2014/main" id="{64F72C78-D6AD-0901-BCAC-ED5384B993E6}"/>
              </a:ext>
            </a:extLst>
          </p:cNvPr>
          <p:cNvSpPr/>
          <p:nvPr/>
        </p:nvSpPr>
        <p:spPr>
          <a:xfrm>
            <a:off x="609600" y="4228400"/>
            <a:ext cx="10304834" cy="646331"/>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900" b="1" i="0" u="none" strike="noStrike" kern="1200" cap="none" spc="0" normalizeH="0" baseline="0" noProof="0">
                <a:ln>
                  <a:noFill/>
                </a:ln>
                <a:solidFill>
                  <a:srgbClr val="1F4E79"/>
                </a:solidFill>
                <a:effectLst/>
                <a:uLnTx/>
                <a:uFillTx/>
                <a:latin typeface="Gobcl" panose="02000603050000020004"/>
                <a:ea typeface="+mn-ea"/>
                <a:cs typeface="+mn-cs"/>
              </a:rPr>
              <a:t>Nota:  </a:t>
            </a:r>
            <a:r>
              <a:rPr kumimoji="0" lang="es-ES" sz="900" b="0" i="0" u="none" strike="noStrike" kern="1200" cap="none" spc="0" normalizeH="0" baseline="0" noProof="0">
                <a:ln>
                  <a:noFill/>
                </a:ln>
                <a:solidFill>
                  <a:srgbClr val="1F4E79"/>
                </a:solidFill>
                <a:effectLst/>
                <a:uLnTx/>
                <a:uFillTx/>
                <a:latin typeface="Gobcl" panose="02000603050000020004"/>
                <a:ea typeface="+mn-ea"/>
                <a:cs typeface="+mn-cs"/>
              </a:rPr>
              <a:t>(1)</a:t>
            </a:r>
            <a:r>
              <a:rPr kumimoji="0" lang="es-ES" sz="900" b="1" i="0" u="none" strike="noStrike" kern="1200" cap="none" spc="0" normalizeH="0" baseline="0" noProof="0">
                <a:ln>
                  <a:noFill/>
                </a:ln>
                <a:solidFill>
                  <a:srgbClr val="1F4E79"/>
                </a:solidFill>
                <a:effectLst/>
                <a:uLnTx/>
                <a:uFillTx/>
                <a:latin typeface="Gobcl" panose="02000603050000020004"/>
                <a:ea typeface="+mn-ea"/>
                <a:cs typeface="+mn-cs"/>
              </a:rPr>
              <a:t> </a:t>
            </a:r>
            <a:r>
              <a:rPr kumimoji="0" lang="es-ES" sz="900" b="0" i="0" u="none" strike="noStrike" kern="1200" cap="none" spc="0" normalizeH="0" baseline="0" noProof="0">
                <a:ln>
                  <a:noFill/>
                </a:ln>
                <a:solidFill>
                  <a:srgbClr val="1F4E79"/>
                </a:solidFill>
                <a:effectLst/>
                <a:uLnTx/>
                <a:uFillTx/>
                <a:latin typeface="Gobcl" panose="02000603050000020004"/>
                <a:ea typeface="+mn-ea"/>
                <a:cs typeface="+mn-cs"/>
              </a:rPr>
              <a:t>Informe de Finanzas Públicas (IFP) con datos publicación 3T2023. (2) Encuesta de Expectativas Económicas (EEE) con datos de noviembre 2023, datos entre paréntesis corresponden al decil 1 y decil 9. Informe de Política Monetaria (IPOM) publicación septiembre 2023. Se considera expectativa de inflación a 11 meses. (3) </a:t>
            </a:r>
            <a:r>
              <a:rPr kumimoji="0" lang="es-ES" sz="900" b="0" i="0" u="none" strike="noStrike" kern="1200" cap="none" spc="0" normalizeH="0" baseline="0" noProof="0" err="1">
                <a:ln>
                  <a:noFill/>
                </a:ln>
                <a:solidFill>
                  <a:srgbClr val="1F4E79"/>
                </a:solidFill>
                <a:effectLst/>
                <a:uLnTx/>
                <a:uFillTx/>
                <a:latin typeface="Gobcl" panose="02000603050000020004"/>
                <a:ea typeface="+mn-ea"/>
                <a:cs typeface="+mn-cs"/>
              </a:rPr>
              <a:t>Consensus</a:t>
            </a:r>
            <a:r>
              <a:rPr kumimoji="0" lang="es-ES" sz="900" b="0" i="0" u="none" strike="noStrike" kern="1200" cap="none" spc="0" normalizeH="0" baseline="0" noProof="0">
                <a:ln>
                  <a:noFill/>
                </a:ln>
                <a:solidFill>
                  <a:srgbClr val="1F4E79"/>
                </a:solidFill>
                <a:effectLst/>
                <a:uLnTx/>
                <a:uFillTx/>
                <a:latin typeface="Gobcl" panose="02000603050000020004"/>
                <a:ea typeface="+mn-ea"/>
                <a:cs typeface="+mn-cs"/>
              </a:rPr>
              <a:t> </a:t>
            </a:r>
            <a:r>
              <a:rPr kumimoji="0" lang="es-ES" sz="900" b="0" i="0" u="none" strike="noStrike" kern="1200" cap="none" spc="0" normalizeH="0" baseline="0" noProof="0" err="1">
                <a:ln>
                  <a:noFill/>
                </a:ln>
                <a:solidFill>
                  <a:srgbClr val="1F4E79"/>
                </a:solidFill>
                <a:effectLst/>
                <a:uLnTx/>
                <a:uFillTx/>
                <a:latin typeface="Gobcl" panose="02000603050000020004"/>
                <a:ea typeface="+mn-ea"/>
                <a:cs typeface="+mn-cs"/>
              </a:rPr>
              <a:t>Forecasts</a:t>
            </a:r>
            <a:r>
              <a:rPr kumimoji="0" lang="es-ES" sz="900" b="0" i="0" u="none" strike="noStrike" kern="1200" cap="none" spc="0" normalizeH="0" baseline="0" noProof="0">
                <a:ln>
                  <a:noFill/>
                </a:ln>
                <a:solidFill>
                  <a:srgbClr val="1F4E79"/>
                </a:solidFill>
                <a:effectLst/>
                <a:uLnTx/>
                <a:uFillTx/>
                <a:latin typeface="Gobcl" panose="02000603050000020004"/>
                <a:ea typeface="+mn-ea"/>
                <a:cs typeface="+mn-cs"/>
              </a:rPr>
              <a:t> de octubre 2023, datos entre paréntesis corresponden al mínimo y al máximo de las proyecciones de los encuestado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900" b="1" i="0" u="none" strike="noStrike" kern="1200" cap="none" spc="0" normalizeH="0" baseline="0" noProof="0">
                <a:ln>
                  <a:noFill/>
                </a:ln>
                <a:solidFill>
                  <a:srgbClr val="1F4E79"/>
                </a:solidFill>
                <a:effectLst/>
                <a:uLnTx/>
                <a:uFillTx/>
                <a:latin typeface="Gobcl" panose="02000603050000020004"/>
                <a:ea typeface="+mn-ea"/>
                <a:cs typeface="+mn-cs"/>
              </a:rPr>
              <a:t>Fuente: </a:t>
            </a:r>
            <a:r>
              <a:rPr kumimoji="0" lang="es-ES" sz="900" b="0" i="0" u="none" strike="noStrike" kern="1200" cap="none" spc="0" normalizeH="0" baseline="0" noProof="0">
                <a:ln>
                  <a:noFill/>
                </a:ln>
                <a:solidFill>
                  <a:srgbClr val="1F4E79"/>
                </a:solidFill>
                <a:effectLst/>
                <a:uLnTx/>
                <a:uFillTx/>
                <a:latin typeface="Gobcl" panose="02000603050000020004"/>
                <a:ea typeface="+mn-ea"/>
                <a:cs typeface="+mn-cs"/>
              </a:rPr>
              <a:t>Ministerio de Hacienda y Banco Central de Chile.</a:t>
            </a:r>
          </a:p>
        </p:txBody>
      </p:sp>
      <p:sp>
        <p:nvSpPr>
          <p:cNvPr id="3" name="Elipse 2">
            <a:extLst>
              <a:ext uri="{FF2B5EF4-FFF2-40B4-BE49-F238E27FC236}">
                <a16:creationId xmlns:a16="http://schemas.microsoft.com/office/drawing/2014/main" id="{1A309FD4-069B-FAC2-E834-A094D58FC7B5}"/>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 name="Marcador de número de diapositiva 2">
            <a:extLst>
              <a:ext uri="{FF2B5EF4-FFF2-40B4-BE49-F238E27FC236}">
                <a16:creationId xmlns:a16="http://schemas.microsoft.com/office/drawing/2014/main" id="{BA703C37-3723-4D19-5A13-40D4A79FAC1F}"/>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10</a:t>
            </a:fld>
            <a:endParaRPr lang="en-US" b="1">
              <a:solidFill>
                <a:schemeClr val="bg1"/>
              </a:solidFill>
              <a:latin typeface="Calibri"/>
              <a:ea typeface="ヒラギノ角ゴ Pro W3"/>
              <a:cs typeface="Calibri"/>
            </a:endParaRPr>
          </a:p>
        </p:txBody>
      </p:sp>
    </p:spTree>
    <p:extLst>
      <p:ext uri="{BB962C8B-B14F-4D97-AF65-F5344CB8AC3E}">
        <p14:creationId xmlns:p14="http://schemas.microsoft.com/office/powerpoint/2010/main" val="61662329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a:extLst>
              <a:ext uri="{FF2B5EF4-FFF2-40B4-BE49-F238E27FC236}">
                <a16:creationId xmlns:a16="http://schemas.microsoft.com/office/drawing/2014/main" id="{79FF9171-4EFA-C7FC-9453-8B12E46DE596}"/>
              </a:ext>
            </a:extLst>
          </p:cNvPr>
          <p:cNvSpPr txBox="1"/>
          <p:nvPr/>
        </p:nvSpPr>
        <p:spPr>
          <a:xfrm>
            <a:off x="569271" y="231065"/>
            <a:ext cx="7592235" cy="1015663"/>
          </a:xfrm>
          <a:prstGeom prst="rect">
            <a:avLst/>
          </a:prstGeom>
          <a:noFill/>
        </p:spPr>
        <p:txBody>
          <a:bodyPr wrap="square" rtlCol="0">
            <a:spAutoFit/>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a:ln>
                  <a:noFill/>
                </a:ln>
                <a:solidFill>
                  <a:srgbClr val="1F4E79"/>
                </a:solidFill>
                <a:effectLst/>
                <a:uLnTx/>
                <a:uFillTx/>
                <a:latin typeface="gobCL"/>
                <a:ea typeface="+mn-ea"/>
                <a:cs typeface="+mn-cs"/>
              </a:rPr>
              <a:t>En el balance de 5 años desde el estallido social y luego de grandes altibajos, Chile habrá acumulado un crecimiento levemente inferior al promedio de un conjunto de países comparable</a:t>
            </a:r>
          </a:p>
        </p:txBody>
      </p:sp>
      <p:graphicFrame>
        <p:nvGraphicFramePr>
          <p:cNvPr id="3" name="Gráfico 2">
            <a:extLst>
              <a:ext uri="{FF2B5EF4-FFF2-40B4-BE49-F238E27FC236}">
                <a16:creationId xmlns:a16="http://schemas.microsoft.com/office/drawing/2014/main" id="{2962FA88-0E3A-D2E4-3D73-9E92C944FB5B}"/>
              </a:ext>
            </a:extLst>
          </p:cNvPr>
          <p:cNvGraphicFramePr>
            <a:graphicFrameLocks/>
          </p:cNvGraphicFramePr>
          <p:nvPr>
            <p:extLst>
              <p:ext uri="{D42A27DB-BD31-4B8C-83A1-F6EECF244321}">
                <p14:modId xmlns:p14="http://schemas.microsoft.com/office/powerpoint/2010/main" val="1079422566"/>
              </p:ext>
            </p:extLst>
          </p:nvPr>
        </p:nvGraphicFramePr>
        <p:xfrm>
          <a:off x="573933" y="1682187"/>
          <a:ext cx="10583694" cy="4183592"/>
        </p:xfrm>
        <a:graphic>
          <a:graphicData uri="http://schemas.openxmlformats.org/drawingml/2006/chart">
            <c:chart xmlns:c="http://schemas.openxmlformats.org/drawingml/2006/chart" xmlns:r="http://schemas.openxmlformats.org/officeDocument/2006/relationships" r:id="rId3"/>
          </a:graphicData>
        </a:graphic>
      </p:graphicFrame>
      <p:sp>
        <p:nvSpPr>
          <p:cNvPr id="4" name="Rectángulo 3">
            <a:extLst>
              <a:ext uri="{FF2B5EF4-FFF2-40B4-BE49-F238E27FC236}">
                <a16:creationId xmlns:a16="http://schemas.microsoft.com/office/drawing/2014/main" id="{74311F72-BB32-B220-E8FA-7B45B7AE8016}"/>
              </a:ext>
            </a:extLst>
          </p:cNvPr>
          <p:cNvSpPr/>
          <p:nvPr/>
        </p:nvSpPr>
        <p:spPr>
          <a:xfrm>
            <a:off x="541349" y="5925970"/>
            <a:ext cx="10898052" cy="369332"/>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900" b="1" i="0" u="none" strike="noStrike" kern="1200" cap="none" spc="0" normalizeH="0" baseline="0" noProof="0">
                <a:ln>
                  <a:noFill/>
                </a:ln>
                <a:solidFill>
                  <a:srgbClr val="1F4E79"/>
                </a:solidFill>
                <a:effectLst/>
                <a:uLnTx/>
                <a:uFillTx/>
                <a:latin typeface="Gobcl" panose="02000603050000020004"/>
                <a:ea typeface="+mn-ea"/>
                <a:cs typeface="+mn-cs"/>
              </a:rPr>
              <a:t>Nota: </a:t>
            </a:r>
            <a:r>
              <a:rPr kumimoji="0" lang="es-ES" sz="900" i="0" u="none" strike="noStrike" kern="1200" cap="none" spc="0" normalizeH="0" baseline="0" noProof="0">
                <a:ln>
                  <a:noFill/>
                </a:ln>
                <a:solidFill>
                  <a:srgbClr val="1F4E79"/>
                </a:solidFill>
                <a:effectLst/>
                <a:uLnTx/>
                <a:uFillTx/>
                <a:latin typeface="Gobcl" panose="02000603050000020004"/>
                <a:ea typeface="+mn-ea"/>
                <a:cs typeface="+mn-cs"/>
              </a:rPr>
              <a:t>(1) Estimación de crecimiento del PIB en base a cálculos del Ministerio de Haciend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900" b="1" i="0" u="none" strike="noStrike" kern="1200" cap="none" spc="0" normalizeH="0" baseline="0" noProof="0">
                <a:ln>
                  <a:noFill/>
                </a:ln>
                <a:solidFill>
                  <a:srgbClr val="1F4E79"/>
                </a:solidFill>
                <a:effectLst/>
                <a:uLnTx/>
                <a:uFillTx/>
                <a:latin typeface="Gobcl" panose="02000603050000020004"/>
                <a:ea typeface="+mn-ea"/>
                <a:cs typeface="+mn-cs"/>
              </a:rPr>
              <a:t>Fuente: </a:t>
            </a:r>
            <a:r>
              <a:rPr kumimoji="0" lang="en-US" sz="900" i="0" u="none" strike="noStrike" kern="1200" cap="none" spc="0" normalizeH="0" baseline="0" noProof="0">
                <a:ln>
                  <a:noFill/>
                </a:ln>
                <a:solidFill>
                  <a:srgbClr val="1F4E79"/>
                </a:solidFill>
                <a:effectLst/>
                <a:uLnTx/>
                <a:uFillTx/>
                <a:latin typeface="Gobcl" panose="02000603050000020004"/>
                <a:ea typeface="+mn-ea"/>
                <a:cs typeface="+mn-cs"/>
              </a:rPr>
              <a:t>World Economic Outlook del FMI (</a:t>
            </a:r>
            <a:r>
              <a:rPr kumimoji="0" lang="en-US" sz="900" i="0" u="none" strike="noStrike" kern="1200" cap="none" spc="0" normalizeH="0" baseline="0" noProof="0" err="1">
                <a:ln>
                  <a:noFill/>
                </a:ln>
                <a:solidFill>
                  <a:srgbClr val="1F4E79"/>
                </a:solidFill>
                <a:effectLst/>
                <a:uLnTx/>
                <a:uFillTx/>
                <a:latin typeface="Gobcl" panose="02000603050000020004"/>
                <a:ea typeface="+mn-ea"/>
                <a:cs typeface="+mn-cs"/>
              </a:rPr>
              <a:t>octubre</a:t>
            </a:r>
            <a:r>
              <a:rPr kumimoji="0" lang="en-US" sz="900" i="0" u="none" strike="noStrike" kern="1200" cap="none" spc="0" normalizeH="0" baseline="0" noProof="0">
                <a:ln>
                  <a:noFill/>
                </a:ln>
                <a:solidFill>
                  <a:srgbClr val="1F4E79"/>
                </a:solidFill>
                <a:effectLst/>
                <a:uLnTx/>
                <a:uFillTx/>
                <a:latin typeface="Gobcl" panose="02000603050000020004"/>
                <a:ea typeface="+mn-ea"/>
                <a:cs typeface="+mn-cs"/>
              </a:rPr>
              <a:t> de 2023) y </a:t>
            </a:r>
            <a:r>
              <a:rPr kumimoji="0" lang="es-ES" sz="900" i="0" u="none" strike="noStrike" kern="1200" cap="none" spc="0" normalizeH="0" baseline="0" noProof="0">
                <a:ln>
                  <a:noFill/>
                </a:ln>
                <a:solidFill>
                  <a:srgbClr val="1F4E79"/>
                </a:solidFill>
                <a:effectLst/>
                <a:uLnTx/>
                <a:uFillTx/>
                <a:latin typeface="Gobcl" panose="02000603050000020004"/>
                <a:ea typeface="+mn-ea"/>
                <a:cs typeface="+mn-cs"/>
              </a:rPr>
              <a:t>Ministerio de Hacienda.</a:t>
            </a:r>
          </a:p>
        </p:txBody>
      </p:sp>
      <p:sp>
        <p:nvSpPr>
          <p:cNvPr id="5" name="Elipse 4">
            <a:extLst>
              <a:ext uri="{FF2B5EF4-FFF2-40B4-BE49-F238E27FC236}">
                <a16:creationId xmlns:a16="http://schemas.microsoft.com/office/drawing/2014/main" id="{0B33063A-B5F6-FB31-5C4F-C4A1C4B32A9C}"/>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 name="Marcador de número de diapositiva 2">
            <a:extLst>
              <a:ext uri="{FF2B5EF4-FFF2-40B4-BE49-F238E27FC236}">
                <a16:creationId xmlns:a16="http://schemas.microsoft.com/office/drawing/2014/main" id="{4BA22F51-88DC-5338-CC90-E0D067700458}"/>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11</a:t>
            </a:fld>
            <a:endParaRPr lang="en-US" b="1">
              <a:solidFill>
                <a:schemeClr val="bg1"/>
              </a:solidFill>
              <a:latin typeface="Calibri"/>
              <a:ea typeface="ヒラギノ角ゴ Pro W3"/>
              <a:cs typeface="Calibri"/>
            </a:endParaRPr>
          </a:p>
        </p:txBody>
      </p:sp>
    </p:spTree>
    <p:extLst>
      <p:ext uri="{BB962C8B-B14F-4D97-AF65-F5344CB8AC3E}">
        <p14:creationId xmlns:p14="http://schemas.microsoft.com/office/powerpoint/2010/main" val="1319548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460"/>
          <p:cNvSpPr/>
          <p:nvPr/>
        </p:nvSpPr>
        <p:spPr>
          <a:xfrm>
            <a:off x="548080" y="377146"/>
            <a:ext cx="2731922" cy="710270"/>
          </a:xfrm>
          <a:prstGeom prst="rect">
            <a:avLst/>
          </a:prstGeom>
          <a:extLst>
            <a:ext uri="{C572A759-6A51-4108-AA02-DFA0A04FC94B}">
              <ma14:wrappingTextBoxFlag xmlns:ma14="http://schemas.microsoft.com/office/mac/drawingml/2011/main" xmlns="" val="1"/>
            </a:ext>
          </a:extLst>
        </p:spPr>
        <p:txBody>
          <a:bodyPr vert="horz" lIns="91440" tIns="45720" rIns="91440" bIns="45720" rtlCol="0" anchor="t">
            <a:noAutofit/>
          </a:bodyPr>
          <a:lstStyle/>
          <a:p>
            <a:pPr>
              <a:lnSpc>
                <a:spcPct val="90000"/>
              </a:lnSpc>
              <a:spcBef>
                <a:spcPts val="1000"/>
              </a:spcBef>
            </a:pPr>
            <a:r>
              <a:rPr lang="es-CL" sz="2800" b="1">
                <a:solidFill>
                  <a:srgbClr val="1F4E79"/>
                </a:solidFill>
                <a:latin typeface="gobCL"/>
                <a:sym typeface="MyriadPro-SemiboldSemiCn"/>
              </a:rPr>
              <a:t>Agenda</a:t>
            </a:r>
            <a:endParaRPr sz="2800" b="1">
              <a:solidFill>
                <a:srgbClr val="1F4E79"/>
              </a:solidFill>
              <a:latin typeface="gobCL"/>
              <a:sym typeface="MyriadPro-SemiboldSemiCn"/>
            </a:endParaRPr>
          </a:p>
        </p:txBody>
      </p:sp>
      <p:sp>
        <p:nvSpPr>
          <p:cNvPr id="11" name="3 Rectángulo">
            <a:extLst>
              <a:ext uri="{FF2B5EF4-FFF2-40B4-BE49-F238E27FC236}">
                <a16:creationId xmlns:a16="http://schemas.microsoft.com/office/drawing/2014/main" id="{D8D8B5A9-0857-7A27-842A-7863F96B970B}"/>
              </a:ext>
            </a:extLst>
          </p:cNvPr>
          <p:cNvSpPr/>
          <p:nvPr/>
        </p:nvSpPr>
        <p:spPr>
          <a:xfrm>
            <a:off x="548080" y="3622276"/>
            <a:ext cx="10299731" cy="521882"/>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Verdana" panose="020B0604030504040204" pitchFamily="34" charset="0"/>
              <a:ea typeface="Verdana" panose="020B0604030504040204" pitchFamily="34" charset="0"/>
            </a:endParaRPr>
          </a:p>
        </p:txBody>
      </p:sp>
      <p:sp>
        <p:nvSpPr>
          <p:cNvPr id="13" name="1 Rectángulo">
            <a:extLst>
              <a:ext uri="{FF2B5EF4-FFF2-40B4-BE49-F238E27FC236}">
                <a16:creationId xmlns:a16="http://schemas.microsoft.com/office/drawing/2014/main" id="{80B1E790-6901-F3C5-5564-43EB16559871}"/>
              </a:ext>
            </a:extLst>
          </p:cNvPr>
          <p:cNvSpPr/>
          <p:nvPr/>
        </p:nvSpPr>
        <p:spPr>
          <a:xfrm>
            <a:off x="533286" y="2930621"/>
            <a:ext cx="9826671" cy="3416320"/>
          </a:xfrm>
          <a:prstGeom prst="rect">
            <a:avLst/>
          </a:prstGeom>
        </p:spPr>
        <p:txBody>
          <a:bodyPr wrap="square" lIns="91440" tIns="45720" rIns="91440" bIns="45720" anchor="t">
            <a:spAutoFit/>
          </a:bodyPr>
          <a:lstStyle/>
          <a:p>
            <a:pPr marL="457200" indent="-342900">
              <a:buAutoNum type="arabicPeriod"/>
            </a:pPr>
            <a:r>
              <a:rPr lang="es-ES" sz="2400" dirty="0">
                <a:solidFill>
                  <a:srgbClr val="1F4E79"/>
                </a:solidFill>
                <a:latin typeface="gobCL"/>
                <a:ea typeface="Verdana"/>
                <a:cs typeface="Arial"/>
              </a:rPr>
              <a:t>Antecedentes de contexto</a:t>
            </a:r>
          </a:p>
          <a:p>
            <a:pPr marL="114300"/>
            <a:r>
              <a:rPr lang="es-ES" sz="2400" dirty="0">
                <a:solidFill>
                  <a:schemeClr val="accent1">
                    <a:lumMod val="50000"/>
                  </a:schemeClr>
                </a:solidFill>
                <a:latin typeface="gobCL"/>
                <a:ea typeface="Verdana"/>
                <a:cs typeface="Arial"/>
              </a:rPr>
              <a:t> </a:t>
            </a:r>
            <a:endParaRPr lang="es-ES" sz="2400" dirty="0">
              <a:solidFill>
                <a:schemeClr val="bg1"/>
              </a:solidFill>
              <a:latin typeface="gobCL"/>
              <a:ea typeface="Verdana"/>
              <a:cs typeface="Arial"/>
            </a:endParaRPr>
          </a:p>
          <a:p>
            <a:pPr marL="114300"/>
            <a:r>
              <a:rPr lang="es-CL" sz="2400" dirty="0">
                <a:solidFill>
                  <a:schemeClr val="bg1"/>
                </a:solidFill>
                <a:latin typeface="gobCL"/>
                <a:ea typeface="Verdana"/>
                <a:cs typeface="Arial"/>
              </a:rPr>
              <a:t>2. Protocolo de Acuerdo del Reajuste General del Sector Público</a:t>
            </a:r>
          </a:p>
          <a:p>
            <a:pPr marL="114300"/>
            <a:endParaRPr lang="es-CL" sz="2400" dirty="0">
              <a:solidFill>
                <a:schemeClr val="bg1"/>
              </a:solidFill>
              <a:latin typeface="gobCL"/>
              <a:ea typeface="Verdana"/>
              <a:cs typeface="Arial"/>
            </a:endParaRPr>
          </a:p>
          <a:p>
            <a:pPr marL="114300"/>
            <a:r>
              <a:rPr lang="es-CL" sz="2400" dirty="0">
                <a:solidFill>
                  <a:srgbClr val="1F4E79"/>
                </a:solidFill>
                <a:latin typeface="gobCL"/>
                <a:ea typeface="Verdana"/>
                <a:cs typeface="Arial"/>
              </a:rPr>
              <a:t>3. Agenda de trabajo 2023 – 2024</a:t>
            </a:r>
          </a:p>
          <a:p>
            <a:pPr marL="114300"/>
            <a:endParaRPr lang="es-CL" sz="2400" dirty="0">
              <a:solidFill>
                <a:srgbClr val="1F4E79"/>
              </a:solidFill>
              <a:latin typeface="gobCL"/>
              <a:ea typeface="Verdana"/>
              <a:cs typeface="Arial"/>
            </a:endParaRPr>
          </a:p>
          <a:p>
            <a:pPr marL="114300"/>
            <a:r>
              <a:rPr lang="es-CL" sz="2400" dirty="0">
                <a:solidFill>
                  <a:srgbClr val="1F4E79"/>
                </a:solidFill>
                <a:latin typeface="gobCL"/>
                <a:ea typeface="Verdana"/>
                <a:cs typeface="Arial"/>
              </a:rPr>
              <a:t>4. Otros contenidos del proyecto de ley</a:t>
            </a:r>
          </a:p>
          <a:p>
            <a:pPr marL="114300"/>
            <a:endParaRPr lang="es-CL" sz="2400" dirty="0">
              <a:solidFill>
                <a:srgbClr val="1F4E79"/>
              </a:solidFill>
              <a:latin typeface="gobCL"/>
              <a:ea typeface="Verdana"/>
              <a:cs typeface="Arial"/>
            </a:endParaRPr>
          </a:p>
          <a:p>
            <a:pPr marL="114300"/>
            <a:r>
              <a:rPr lang="es-CL" sz="2400" dirty="0">
                <a:solidFill>
                  <a:srgbClr val="1F4E79"/>
                </a:solidFill>
                <a:latin typeface="gobCL"/>
                <a:ea typeface="Verdana"/>
                <a:cs typeface="Arial"/>
              </a:rPr>
              <a:t>5. Informe Financiero</a:t>
            </a:r>
            <a:endParaRPr lang="es-CL" sz="2400" dirty="0">
              <a:solidFill>
                <a:srgbClr val="1F4E79"/>
              </a:solidFill>
              <a:latin typeface="gobCL"/>
              <a:ea typeface="Verdana" panose="020B0604030504040204" pitchFamily="34" charset="0"/>
              <a:cs typeface="Arial" panose="020B0604020202020204" pitchFamily="34" charset="0"/>
            </a:endParaRPr>
          </a:p>
        </p:txBody>
      </p:sp>
    </p:spTree>
    <p:extLst>
      <p:ext uri="{BB962C8B-B14F-4D97-AF65-F5344CB8AC3E}">
        <p14:creationId xmlns:p14="http://schemas.microsoft.com/office/powerpoint/2010/main" val="101124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460"/>
          <p:cNvSpPr/>
          <p:nvPr/>
        </p:nvSpPr>
        <p:spPr>
          <a:xfrm>
            <a:off x="555604" y="368777"/>
            <a:ext cx="7956097" cy="526167"/>
          </a:xfrm>
          <a:prstGeom prst="rect">
            <a:avLst/>
          </a:prstGeom>
          <a:extLst>
            <a:ext uri="{C572A759-6A51-4108-AA02-DFA0A04FC94B}">
              <ma14:wrappingTextBoxFlag xmlns:ma14="http://schemas.microsoft.com/office/mac/drawingml/2011/main" xmlns="" val="1"/>
            </a:ext>
          </a:extLst>
        </p:spPr>
        <p:txBody>
          <a:bodyPr vert="horz" lIns="91440" tIns="45720" rIns="91440" bIns="45720" rtlCol="0" anchor="t">
            <a:noAutofit/>
          </a:bodyPr>
          <a:lstStyle/>
          <a:p>
            <a:pPr>
              <a:lnSpc>
                <a:spcPct val="90000"/>
              </a:lnSpc>
              <a:spcBef>
                <a:spcPts val="1000"/>
              </a:spcBef>
            </a:pPr>
            <a:r>
              <a:rPr lang="es-ES" sz="2800" b="1">
                <a:solidFill>
                  <a:srgbClr val="1F4E79"/>
                </a:solidFill>
                <a:latin typeface="gobCL"/>
                <a:sym typeface="MyriadPro-SemiboldSemiCn"/>
              </a:rPr>
              <a:t>Desarrollo de la Mesa del Sector Público (MSP)</a:t>
            </a:r>
          </a:p>
        </p:txBody>
      </p:sp>
      <p:sp>
        <p:nvSpPr>
          <p:cNvPr id="4" name="CuadroTexto 3"/>
          <p:cNvSpPr txBox="1"/>
          <p:nvPr/>
        </p:nvSpPr>
        <p:spPr>
          <a:xfrm>
            <a:off x="517255" y="1265798"/>
            <a:ext cx="10367996" cy="1015663"/>
          </a:xfrm>
          <a:prstGeom prst="rect">
            <a:avLst/>
          </a:prstGeom>
          <a:noFill/>
        </p:spPr>
        <p:txBody>
          <a:bodyPr wrap="square" lIns="91440" tIns="45720" rIns="91440" bIns="45720" rtlCol="0" anchor="t">
            <a:spAutoFit/>
          </a:bodyPr>
          <a:lstStyle/>
          <a:p>
            <a:pPr marL="228600" indent="-228600">
              <a:buAutoNum type="arabicPeriod"/>
              <a:defRPr/>
            </a:pPr>
            <a:r>
              <a:rPr lang="es-CL" sz="2000">
                <a:solidFill>
                  <a:srgbClr val="1F4E79"/>
                </a:solidFill>
                <a:ea typeface="Verdana"/>
                <a:cs typeface="Arial"/>
              </a:rPr>
              <a:t>En</a:t>
            </a:r>
            <a:r>
              <a:rPr kumimoji="0" lang="es-CL" sz="2000" i="0" u="none" strike="noStrike" kern="1200" cap="none" spc="0" normalizeH="0" baseline="0" noProof="0">
                <a:ln>
                  <a:noFill/>
                </a:ln>
                <a:solidFill>
                  <a:srgbClr val="1F4E79"/>
                </a:solidFill>
                <a:effectLst/>
                <a:uLnTx/>
                <a:uFillTx/>
                <a:ea typeface="Verdana"/>
                <a:cs typeface="Arial"/>
              </a:rPr>
              <a:t> el marco del trabajo realizado por la Mesa del Sector Público y el Ejecutivo durante el año 2023, </a:t>
            </a:r>
            <a:r>
              <a:rPr kumimoji="0" lang="es-CL" sz="2000" b="1" i="0" u="none" strike="noStrike" kern="1200" cap="none" spc="0" normalizeH="0" baseline="0" noProof="0">
                <a:ln>
                  <a:noFill/>
                </a:ln>
                <a:solidFill>
                  <a:srgbClr val="1F4E79"/>
                </a:solidFill>
                <a:effectLst/>
                <a:uLnTx/>
                <a:uFillTx/>
                <a:ea typeface="Verdana"/>
                <a:cs typeface="Arial"/>
              </a:rPr>
              <a:t>se desarrollaron 14 mesas temáticas activas que permiten conocer, analizar y evaluar solicitudes gremiales</a:t>
            </a:r>
            <a:r>
              <a:rPr kumimoji="0" lang="es-CL" sz="2000" i="0" u="none" strike="noStrike" kern="1200" cap="none" spc="0" normalizeH="0" baseline="0" noProof="0">
                <a:ln>
                  <a:noFill/>
                </a:ln>
                <a:solidFill>
                  <a:srgbClr val="1F4E79"/>
                </a:solidFill>
                <a:effectLst/>
                <a:uLnTx/>
                <a:uFillTx/>
                <a:ea typeface="Verdana"/>
                <a:cs typeface="Arial"/>
              </a:rPr>
              <a:t> que requieren atención:</a:t>
            </a:r>
            <a:endParaRPr lang="es-ES" sz="2000">
              <a:solidFill>
                <a:srgbClr val="1F4E79"/>
              </a:solidFill>
              <a:cs typeface="Calibri" panose="020F0502020204030204"/>
            </a:endParaRPr>
          </a:p>
        </p:txBody>
      </p:sp>
      <p:graphicFrame>
        <p:nvGraphicFramePr>
          <p:cNvPr id="2" name="Tabla 1">
            <a:extLst>
              <a:ext uri="{FF2B5EF4-FFF2-40B4-BE49-F238E27FC236}">
                <a16:creationId xmlns:a16="http://schemas.microsoft.com/office/drawing/2014/main" id="{5EEFAE31-FD6E-18C4-EED9-C391D5D6D54C}"/>
              </a:ext>
            </a:extLst>
          </p:cNvPr>
          <p:cNvGraphicFramePr>
            <a:graphicFrameLocks noGrp="1"/>
          </p:cNvGraphicFramePr>
          <p:nvPr>
            <p:extLst>
              <p:ext uri="{D42A27DB-BD31-4B8C-83A1-F6EECF244321}">
                <p14:modId xmlns:p14="http://schemas.microsoft.com/office/powerpoint/2010/main" val="798705738"/>
              </p:ext>
            </p:extLst>
          </p:nvPr>
        </p:nvGraphicFramePr>
        <p:xfrm>
          <a:off x="773093" y="2614938"/>
          <a:ext cx="10102431" cy="3444240"/>
        </p:xfrm>
        <a:graphic>
          <a:graphicData uri="http://schemas.openxmlformats.org/drawingml/2006/table">
            <a:tbl>
              <a:tblPr firstRow="1" bandRow="1">
                <a:tableStyleId>{2D5ABB26-0587-4C30-8999-92F81FD0307C}</a:tableStyleId>
              </a:tblPr>
              <a:tblGrid>
                <a:gridCol w="3883793">
                  <a:extLst>
                    <a:ext uri="{9D8B030D-6E8A-4147-A177-3AD203B41FA5}">
                      <a16:colId xmlns:a16="http://schemas.microsoft.com/office/drawing/2014/main" val="2024092395"/>
                    </a:ext>
                  </a:extLst>
                </a:gridCol>
                <a:gridCol w="6218638">
                  <a:extLst>
                    <a:ext uri="{9D8B030D-6E8A-4147-A177-3AD203B41FA5}">
                      <a16:colId xmlns:a16="http://schemas.microsoft.com/office/drawing/2014/main" val="1778075811"/>
                    </a:ext>
                  </a:extLst>
                </a:gridCol>
              </a:tblGrid>
              <a:tr h="522026">
                <a:tc>
                  <a:txBody>
                    <a:bodyPr/>
                    <a:lstStyle/>
                    <a:p>
                      <a:pPr marL="174625" marR="0" lvl="1" indent="-174625" fontAlgn="auto">
                        <a:lnSpc>
                          <a:spcPct val="100000"/>
                        </a:lnSpc>
                        <a:spcBef>
                          <a:spcPts val="0"/>
                        </a:spcBef>
                        <a:spcAft>
                          <a:spcPts val="0"/>
                        </a:spcAft>
                        <a:buClrTx/>
                        <a:buSzTx/>
                        <a:buFont typeface="Wingdings" panose="05000000000000000000" pitchFamily="2" charset="2"/>
                        <a:buChar char="§"/>
                        <a:tabLst/>
                        <a:defRPr/>
                      </a:pPr>
                      <a:r>
                        <a:rPr lang="es-CL" sz="2000" b="1">
                          <a:solidFill>
                            <a:srgbClr val="1F4E79"/>
                          </a:solidFill>
                        </a:rPr>
                        <a:t>Mesas transversales:</a:t>
                      </a:r>
                    </a:p>
                    <a:p>
                      <a:pPr marL="622300" lvl="2" indent="-174625">
                        <a:buFont typeface="Arial" panose="020F0302020204030204"/>
                        <a:buChar char="•"/>
                        <a:defRPr/>
                      </a:pPr>
                      <a:r>
                        <a:rPr lang="es-ES" sz="2000">
                          <a:solidFill>
                            <a:srgbClr val="1F4E79"/>
                          </a:solidFill>
                        </a:rPr>
                        <a:t>Cuidado Infantil </a:t>
                      </a:r>
                    </a:p>
                    <a:p>
                      <a:pPr marL="622300" lvl="2" indent="-174625">
                        <a:buFont typeface="Arial" panose="020F0302020204030204"/>
                        <a:buChar char="•"/>
                        <a:defRPr/>
                      </a:pPr>
                      <a:r>
                        <a:rPr lang="es-ES" sz="2000">
                          <a:solidFill>
                            <a:srgbClr val="1F4E79"/>
                          </a:solidFill>
                        </a:rPr>
                        <a:t>Seguridad Funcionaria </a:t>
                      </a:r>
                    </a:p>
                    <a:p>
                      <a:pPr marL="622300" lvl="2" indent="-174625">
                        <a:buFont typeface="Arial" panose="020F0302020204030204"/>
                        <a:buChar char="•"/>
                        <a:defRPr/>
                      </a:pPr>
                      <a:r>
                        <a:rPr lang="es-ES" sz="2000">
                          <a:solidFill>
                            <a:srgbClr val="1F4E79"/>
                          </a:solidFill>
                        </a:rPr>
                        <a:t>Salud Mental </a:t>
                      </a:r>
                    </a:p>
                    <a:p>
                      <a:pPr marL="622300" lvl="2" indent="-174625">
                        <a:buFont typeface="Arial" panose="020F0302020204030204"/>
                        <a:buChar char="•"/>
                        <a:defRPr/>
                      </a:pPr>
                      <a:r>
                        <a:rPr lang="es-ES" sz="2000">
                          <a:solidFill>
                            <a:srgbClr val="1F4E79"/>
                          </a:solidFill>
                        </a:rPr>
                        <a:t>40 horas </a:t>
                      </a:r>
                    </a:p>
                    <a:p>
                      <a:pPr marL="622300" lvl="2" indent="-174625">
                        <a:buFont typeface="Arial" panose="020F0302020204030204"/>
                        <a:buChar char="•"/>
                        <a:defRPr/>
                      </a:pPr>
                      <a:r>
                        <a:rPr lang="es-ES" sz="2000">
                          <a:solidFill>
                            <a:srgbClr val="1F4E79"/>
                          </a:solidFill>
                        </a:rPr>
                        <a:t>Incentivo al Retiro </a:t>
                      </a:r>
                    </a:p>
                    <a:p>
                      <a:pPr marL="622300" lvl="2" indent="-174625">
                        <a:buFont typeface="Arial" panose="020F0302020204030204"/>
                        <a:buChar char="•"/>
                        <a:defRPr/>
                      </a:pPr>
                      <a:r>
                        <a:rPr lang="es-ES" sz="2000">
                          <a:solidFill>
                            <a:srgbClr val="1F4E79"/>
                          </a:solidFill>
                        </a:rPr>
                        <a:t>Teletrabajo</a:t>
                      </a:r>
                    </a:p>
                    <a:p>
                      <a:pPr marL="622300" lvl="2" indent="-174625">
                        <a:buFont typeface="Arial" panose="020F0302020204030204"/>
                        <a:buChar char="•"/>
                        <a:defRPr/>
                      </a:pPr>
                      <a:r>
                        <a:rPr lang="es-ES" sz="2000">
                          <a:solidFill>
                            <a:srgbClr val="1F4E79"/>
                          </a:solidFill>
                        </a:rPr>
                        <a:t>Equidad de Género </a:t>
                      </a:r>
                    </a:p>
                    <a:p>
                      <a:pPr marL="622300" lvl="2" indent="-174625">
                        <a:buFont typeface="Arial" panose="020F0302020204030204"/>
                        <a:buChar char="•"/>
                        <a:defRPr/>
                      </a:pPr>
                      <a:r>
                        <a:rPr lang="es-ES" sz="2000">
                          <a:solidFill>
                            <a:srgbClr val="1F4E79"/>
                          </a:solidFill>
                        </a:rPr>
                        <a:t>Trabajo Decente</a:t>
                      </a:r>
                    </a:p>
                    <a:p>
                      <a:pPr marL="622300" lvl="2" indent="-174625">
                        <a:buFont typeface="Arial" panose="020F0302020204030204"/>
                        <a:buChar char="•"/>
                        <a:defRPr/>
                      </a:pPr>
                      <a:r>
                        <a:rPr lang="es-ES" sz="2000">
                          <a:solidFill>
                            <a:srgbClr val="1F4E79"/>
                          </a:solidFill>
                        </a:rPr>
                        <a:t>Continuidad de Contratas</a:t>
                      </a:r>
                    </a:p>
                    <a:p>
                      <a:endParaRPr lang="es-CL">
                        <a:solidFill>
                          <a:srgbClr val="1F4E79"/>
                        </a:solidFill>
                      </a:endParaRPr>
                    </a:p>
                  </a:txBody>
                  <a:tcPr/>
                </a:tc>
                <a:tc>
                  <a:txBody>
                    <a:bodyPr/>
                    <a:lstStyle/>
                    <a:p>
                      <a:pPr marL="342900" lvl="1" indent="-342900">
                        <a:buFont typeface="Wingdings" panose="05000000000000000000" pitchFamily="2" charset="2"/>
                        <a:buChar char="§"/>
                        <a:defRPr/>
                      </a:pPr>
                      <a:r>
                        <a:rPr lang="es-ES" sz="2000" b="1">
                          <a:solidFill>
                            <a:srgbClr val="1F4E79"/>
                          </a:solidFill>
                        </a:rPr>
                        <a:t>Mesas sectoriales:</a:t>
                      </a:r>
                    </a:p>
                    <a:p>
                      <a:pPr marL="622300" lvl="2" indent="-165100">
                        <a:buFont typeface="Arial" panose="020F0302020204030204"/>
                        <a:buChar char="•"/>
                        <a:defRPr/>
                      </a:pPr>
                      <a:r>
                        <a:rPr lang="es-ES" sz="2000" b="1">
                          <a:solidFill>
                            <a:srgbClr val="1F4E79"/>
                          </a:solidFill>
                        </a:rPr>
                        <a:t>Ministerio de Salud:</a:t>
                      </a:r>
                    </a:p>
                    <a:p>
                      <a:pPr marL="982345" lvl="3" indent="-174625">
                        <a:buFont typeface="Arial" panose="020F0302020204030204"/>
                        <a:buChar char="•"/>
                        <a:defRPr/>
                      </a:pPr>
                      <a:r>
                        <a:rPr lang="es-ES" sz="2000">
                          <a:solidFill>
                            <a:srgbClr val="1F4E79"/>
                          </a:solidFill>
                        </a:rPr>
                        <a:t>Fortalecimiento de plantas: DFL 5; DFL 4; DFL 31 </a:t>
                      </a:r>
                    </a:p>
                    <a:p>
                      <a:pPr marL="982345" lvl="3" indent="-174625">
                        <a:buFont typeface="Arial" panose="020F0302020204030204"/>
                        <a:buChar char="•"/>
                        <a:defRPr/>
                      </a:pPr>
                      <a:r>
                        <a:rPr lang="es-ES" sz="2000">
                          <a:solidFill>
                            <a:srgbClr val="1F4E79"/>
                          </a:solidFill>
                        </a:rPr>
                        <a:t>Asignación técnica </a:t>
                      </a:r>
                    </a:p>
                    <a:p>
                      <a:pPr marL="742950" lvl="2" indent="-285750">
                        <a:buFont typeface="Arial" panose="020F0302020204030204"/>
                        <a:buChar char="•"/>
                        <a:defRPr/>
                      </a:pPr>
                      <a:endParaRPr lang="es-ES" sz="2000">
                        <a:solidFill>
                          <a:srgbClr val="1F4E79"/>
                        </a:solidFill>
                      </a:endParaRPr>
                    </a:p>
                    <a:p>
                      <a:pPr marL="622300" lvl="2" indent="-165100">
                        <a:buFont typeface="Arial" panose="020F0302020204030204"/>
                        <a:buChar char="•"/>
                        <a:defRPr/>
                      </a:pPr>
                      <a:r>
                        <a:rPr lang="es-ES" sz="2000" b="1">
                          <a:solidFill>
                            <a:srgbClr val="1F4E79"/>
                          </a:solidFill>
                        </a:rPr>
                        <a:t>Ministerio de Educación</a:t>
                      </a:r>
                    </a:p>
                    <a:p>
                      <a:pPr marL="982345" lvl="3" indent="-174625">
                        <a:buFont typeface="Arial" panose="020F0302020204030204"/>
                        <a:buChar char="•"/>
                        <a:defRPr/>
                      </a:pPr>
                      <a:r>
                        <a:rPr lang="es-ES" sz="2000">
                          <a:solidFill>
                            <a:srgbClr val="1F4E79"/>
                          </a:solidFill>
                        </a:rPr>
                        <a:t>Confemuch</a:t>
                      </a:r>
                    </a:p>
                    <a:p>
                      <a:pPr marL="982345" lvl="3" indent="-174625">
                        <a:buFont typeface="Arial" panose="020F0302020204030204"/>
                        <a:buChar char="•"/>
                        <a:defRPr/>
                      </a:pPr>
                      <a:r>
                        <a:rPr lang="es-ES" sz="2000">
                          <a:solidFill>
                            <a:srgbClr val="1F4E79"/>
                          </a:solidFill>
                        </a:rPr>
                        <a:t>Universidades Estatales </a:t>
                      </a:r>
                    </a:p>
                    <a:p>
                      <a:pPr marL="742950" lvl="2" indent="-285750">
                        <a:buFont typeface="Arial" panose="020F0302020204030204"/>
                        <a:buChar char="•"/>
                        <a:defRPr/>
                      </a:pPr>
                      <a:endParaRPr lang="es-ES" sz="2000">
                        <a:solidFill>
                          <a:srgbClr val="1F4E79"/>
                        </a:solidFill>
                      </a:endParaRPr>
                    </a:p>
                    <a:p>
                      <a:pPr marL="622300" lvl="2" indent="-165100">
                        <a:buFont typeface="Arial" panose="020F0302020204030204"/>
                        <a:buChar char="•"/>
                        <a:defRPr/>
                      </a:pPr>
                      <a:r>
                        <a:rPr lang="es-ES" sz="2000" b="1">
                          <a:solidFill>
                            <a:srgbClr val="1F4E79"/>
                          </a:solidFill>
                        </a:rPr>
                        <a:t>SUBDERE</a:t>
                      </a:r>
                    </a:p>
                    <a:p>
                      <a:pPr marL="982345" lvl="3" indent="-174625">
                        <a:buFont typeface="Arial" panose="020F0302020204030204"/>
                        <a:buChar char="•"/>
                        <a:defRPr/>
                      </a:pPr>
                      <a:r>
                        <a:rPr lang="es-ES" sz="2000">
                          <a:solidFill>
                            <a:srgbClr val="1F4E79"/>
                          </a:solidFill>
                        </a:rPr>
                        <a:t>Asemuch </a:t>
                      </a:r>
                    </a:p>
                  </a:txBody>
                  <a:tcPr/>
                </a:tc>
                <a:extLst>
                  <a:ext uri="{0D108BD9-81ED-4DB2-BD59-A6C34878D82A}">
                    <a16:rowId xmlns:a16="http://schemas.microsoft.com/office/drawing/2014/main" val="1925906169"/>
                  </a:ext>
                </a:extLst>
              </a:tr>
            </a:tbl>
          </a:graphicData>
        </a:graphic>
      </p:graphicFrame>
      <p:sp>
        <p:nvSpPr>
          <p:cNvPr id="7" name="Elipse 6">
            <a:extLst>
              <a:ext uri="{FF2B5EF4-FFF2-40B4-BE49-F238E27FC236}">
                <a16:creationId xmlns:a16="http://schemas.microsoft.com/office/drawing/2014/main" id="{A96363BF-886B-6E35-4832-9B848B72F25A}"/>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 name="Marcador de número de diapositiva 2">
            <a:extLst>
              <a:ext uri="{FF2B5EF4-FFF2-40B4-BE49-F238E27FC236}">
                <a16:creationId xmlns:a16="http://schemas.microsoft.com/office/drawing/2014/main" id="{316EE3FD-93C1-5324-E2EE-26EF3D482A59}"/>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13</a:t>
            </a:fld>
            <a:endParaRPr lang="en-US" b="1">
              <a:solidFill>
                <a:schemeClr val="bg1"/>
              </a:solidFill>
              <a:latin typeface="Calibri"/>
              <a:ea typeface="ヒラギノ角ゴ Pro W3"/>
              <a:cs typeface="Calibri"/>
            </a:endParaRPr>
          </a:p>
        </p:txBody>
      </p:sp>
    </p:spTree>
    <p:extLst>
      <p:ext uri="{BB962C8B-B14F-4D97-AF65-F5344CB8AC3E}">
        <p14:creationId xmlns:p14="http://schemas.microsoft.com/office/powerpoint/2010/main" val="2726296481"/>
      </p:ext>
    </p:extLst>
  </p:cSld>
  <p:clrMapOvr>
    <a:overrideClrMapping bg1="lt1" tx1="dk1" bg2="lt2" tx2="dk2" accent1="accent1" accent2="accent2" accent3="accent3" accent4="accent4" accent5="accent5" accent6="accent6" hlink="hlink" folHlink="folHlink"/>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Gráfico 9">
            <a:extLst>
              <a:ext uri="{FF2B5EF4-FFF2-40B4-BE49-F238E27FC236}">
                <a16:creationId xmlns:a16="http://schemas.microsoft.com/office/drawing/2014/main" id="{207D62F4-5EAF-30F6-9A48-B1A0A7986D1C}"/>
              </a:ext>
            </a:extLst>
          </p:cNvPr>
          <p:cNvGraphicFramePr>
            <a:graphicFrameLocks/>
          </p:cNvGraphicFramePr>
          <p:nvPr>
            <p:extLst>
              <p:ext uri="{D42A27DB-BD31-4B8C-83A1-F6EECF244321}">
                <p14:modId xmlns:p14="http://schemas.microsoft.com/office/powerpoint/2010/main" val="2028963991"/>
              </p:ext>
            </p:extLst>
          </p:nvPr>
        </p:nvGraphicFramePr>
        <p:xfrm>
          <a:off x="5459700" y="2583701"/>
          <a:ext cx="4784826" cy="2297764"/>
        </p:xfrm>
        <a:graphic>
          <a:graphicData uri="http://schemas.openxmlformats.org/drawingml/2006/chart">
            <c:chart xmlns:c="http://schemas.openxmlformats.org/drawingml/2006/chart" xmlns:r="http://schemas.openxmlformats.org/officeDocument/2006/relationships" r:id="rId2"/>
          </a:graphicData>
        </a:graphic>
      </p:graphicFrame>
      <p:sp>
        <p:nvSpPr>
          <p:cNvPr id="11" name="Rectángulo 10">
            <a:extLst>
              <a:ext uri="{FF2B5EF4-FFF2-40B4-BE49-F238E27FC236}">
                <a16:creationId xmlns:a16="http://schemas.microsoft.com/office/drawing/2014/main" id="{0603D118-A588-B9FF-F0C4-E9046F48C6AE}"/>
              </a:ext>
            </a:extLst>
          </p:cNvPr>
          <p:cNvSpPr/>
          <p:nvPr/>
        </p:nvSpPr>
        <p:spPr>
          <a:xfrm>
            <a:off x="6109753" y="2615626"/>
            <a:ext cx="2941695" cy="2133768"/>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5" name="CuadroTexto 2">
            <a:extLst>
              <a:ext uri="{FF2B5EF4-FFF2-40B4-BE49-F238E27FC236}">
                <a16:creationId xmlns:a16="http://schemas.microsoft.com/office/drawing/2014/main" id="{ECD7BB9F-6946-2007-8319-F9FDD7DC1768}"/>
              </a:ext>
            </a:extLst>
          </p:cNvPr>
          <p:cNvSpPr txBox="1"/>
          <p:nvPr/>
        </p:nvSpPr>
        <p:spPr>
          <a:xfrm>
            <a:off x="936552" y="1291247"/>
            <a:ext cx="4517191" cy="470898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6213" indent="-176213">
              <a:buFont typeface="Arial" panose="020B0604020202020204" pitchFamily="34" charset="0"/>
              <a:buChar char="•"/>
            </a:pPr>
            <a:r>
              <a:rPr lang="es-ES" sz="2000" b="1">
                <a:solidFill>
                  <a:srgbClr val="1F4E79"/>
                </a:solidFill>
                <a:ea typeface="Verdana"/>
                <a:cs typeface="Arial"/>
              </a:rPr>
              <a:t>Mesas Transversales:</a:t>
            </a:r>
          </a:p>
          <a:p>
            <a:pPr marL="668020" indent="-175895">
              <a:buFont typeface="Arial" panose="020B0604020202020204" pitchFamily="34" charset="0"/>
              <a:buChar char="•"/>
              <a:tabLst>
                <a:tab pos="438150" algn="l"/>
              </a:tabLst>
            </a:pPr>
            <a:r>
              <a:rPr lang="es-ES" sz="2000">
                <a:solidFill>
                  <a:srgbClr val="1F4E79"/>
                </a:solidFill>
                <a:ea typeface="Verdana"/>
                <a:cs typeface="Arial"/>
              </a:rPr>
              <a:t>55 Compromisos adquiridos</a:t>
            </a:r>
          </a:p>
          <a:p>
            <a:pPr marL="668020" indent="-175895">
              <a:buFont typeface="Arial" panose="020B0604020202020204" pitchFamily="34" charset="0"/>
              <a:buChar char="•"/>
              <a:tabLst>
                <a:tab pos="438150" algn="l"/>
              </a:tabLst>
            </a:pPr>
            <a:r>
              <a:rPr lang="es-ES" sz="2000">
                <a:solidFill>
                  <a:srgbClr val="1F4E79"/>
                </a:solidFill>
                <a:ea typeface="Verdana"/>
                <a:cs typeface="Arial"/>
              </a:rPr>
              <a:t>30 compromisos cumplidos</a:t>
            </a:r>
          </a:p>
          <a:p>
            <a:pPr marL="668020" indent="-175895">
              <a:buFont typeface="Arial" panose="020B0604020202020204" pitchFamily="34" charset="0"/>
              <a:buChar char="•"/>
              <a:tabLst>
                <a:tab pos="438150" algn="l"/>
              </a:tabLst>
            </a:pPr>
            <a:r>
              <a:rPr lang="es-ES" sz="2000">
                <a:solidFill>
                  <a:srgbClr val="1F4E79"/>
                </a:solidFill>
                <a:ea typeface="Verdana"/>
                <a:cs typeface="Arial"/>
              </a:rPr>
              <a:t>23 compromisos en desarrollo</a:t>
            </a:r>
          </a:p>
          <a:p>
            <a:pPr marL="668020" indent="-175895">
              <a:buFont typeface="Arial" panose="020B0604020202020204" pitchFamily="34" charset="0"/>
              <a:buChar char="•"/>
              <a:tabLst>
                <a:tab pos="438150" algn="l"/>
              </a:tabLst>
            </a:pPr>
            <a:r>
              <a:rPr lang="es-ES" sz="2000">
                <a:solidFill>
                  <a:srgbClr val="1F4E79"/>
                </a:solidFill>
                <a:ea typeface="Verdana"/>
                <a:cs typeface="Arial"/>
              </a:rPr>
              <a:t>2 compromisos pendientes</a:t>
            </a:r>
          </a:p>
          <a:p>
            <a:endParaRPr lang="es-ES" sz="2000">
              <a:solidFill>
                <a:srgbClr val="1F4E79"/>
              </a:solidFill>
              <a:ea typeface="Verdana"/>
              <a:cs typeface="Arial"/>
            </a:endParaRPr>
          </a:p>
          <a:p>
            <a:endParaRPr lang="es-ES" sz="2000">
              <a:solidFill>
                <a:srgbClr val="1F4E79"/>
              </a:solidFill>
              <a:ea typeface="Verdana"/>
              <a:cs typeface="Arial"/>
            </a:endParaRPr>
          </a:p>
          <a:p>
            <a:endParaRPr lang="es-ES" sz="2000">
              <a:solidFill>
                <a:srgbClr val="1F4E79"/>
              </a:solidFill>
              <a:ea typeface="Verdana"/>
              <a:cs typeface="Arial"/>
            </a:endParaRPr>
          </a:p>
          <a:p>
            <a:endParaRPr lang="es-ES" sz="2000">
              <a:solidFill>
                <a:srgbClr val="1F4E79"/>
              </a:solidFill>
              <a:ea typeface="Verdana"/>
              <a:cs typeface="Arial"/>
            </a:endParaRPr>
          </a:p>
          <a:p>
            <a:endParaRPr lang="es-ES" sz="2000">
              <a:solidFill>
                <a:srgbClr val="1F4E79"/>
              </a:solidFill>
              <a:ea typeface="Verdana"/>
              <a:cs typeface="Arial"/>
            </a:endParaRPr>
          </a:p>
          <a:p>
            <a:pPr marL="176213" indent="-176213">
              <a:buFont typeface="Arial" panose="020B0604020202020204" pitchFamily="34" charset="0"/>
              <a:buChar char="•"/>
            </a:pPr>
            <a:r>
              <a:rPr lang="es-ES" sz="2000" b="1">
                <a:solidFill>
                  <a:srgbClr val="1F4E79"/>
                </a:solidFill>
                <a:ea typeface="Verdana"/>
                <a:cs typeface="Arial"/>
              </a:rPr>
              <a:t>Mesas Sectoriales:</a:t>
            </a:r>
          </a:p>
          <a:p>
            <a:pPr marL="668020" indent="-223520">
              <a:buFont typeface="Arial" panose="020B0604020202020204" pitchFamily="34" charset="0"/>
              <a:buChar char="•"/>
            </a:pPr>
            <a:r>
              <a:rPr lang="es-ES" sz="2000">
                <a:solidFill>
                  <a:srgbClr val="1F4E79"/>
                </a:solidFill>
                <a:ea typeface="Verdana"/>
                <a:cs typeface="Arial"/>
              </a:rPr>
              <a:t>10  Compromisos adquiridos</a:t>
            </a:r>
          </a:p>
          <a:p>
            <a:pPr marL="668020" indent="-223520">
              <a:buFont typeface="Arial" panose="020B0604020202020204" pitchFamily="34" charset="0"/>
              <a:buChar char="•"/>
            </a:pPr>
            <a:r>
              <a:rPr lang="es-ES" sz="2000">
                <a:solidFill>
                  <a:srgbClr val="1F4E79"/>
                </a:solidFill>
                <a:ea typeface="Verdana"/>
                <a:cs typeface="Arial"/>
              </a:rPr>
              <a:t>6 compromisos cumplidos</a:t>
            </a:r>
          </a:p>
          <a:p>
            <a:pPr marL="668020" indent="-223520">
              <a:buFont typeface="Arial" panose="020B0604020202020204" pitchFamily="34" charset="0"/>
              <a:buChar char="•"/>
            </a:pPr>
            <a:r>
              <a:rPr lang="es-ES" sz="2000">
                <a:solidFill>
                  <a:srgbClr val="1F4E79"/>
                </a:solidFill>
                <a:ea typeface="Verdana"/>
                <a:cs typeface="Arial"/>
              </a:rPr>
              <a:t>3 compromisos en desarrollo</a:t>
            </a:r>
          </a:p>
          <a:p>
            <a:pPr marL="668020" indent="-223520">
              <a:buFont typeface="Arial" panose="020B0604020202020204" pitchFamily="34" charset="0"/>
              <a:buChar char="•"/>
            </a:pPr>
            <a:r>
              <a:rPr lang="es-ES" sz="2000">
                <a:solidFill>
                  <a:srgbClr val="1F4E79"/>
                </a:solidFill>
                <a:ea typeface="Verdana"/>
                <a:cs typeface="Arial"/>
              </a:rPr>
              <a:t>1 pendiente</a:t>
            </a:r>
          </a:p>
        </p:txBody>
      </p:sp>
      <p:sp>
        <p:nvSpPr>
          <p:cNvPr id="21" name="Elipse 20">
            <a:extLst>
              <a:ext uri="{FF2B5EF4-FFF2-40B4-BE49-F238E27FC236}">
                <a16:creationId xmlns:a16="http://schemas.microsoft.com/office/drawing/2014/main" id="{01CA17EF-9832-0800-7534-766F03B71383}"/>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2" name="Marcador de número de diapositiva 2">
            <a:extLst>
              <a:ext uri="{FF2B5EF4-FFF2-40B4-BE49-F238E27FC236}">
                <a16:creationId xmlns:a16="http://schemas.microsoft.com/office/drawing/2014/main" id="{E9176D19-9287-3081-4790-6AA66E5C99FD}"/>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14</a:t>
            </a:fld>
            <a:endParaRPr lang="en-US" b="1">
              <a:solidFill>
                <a:schemeClr val="bg1"/>
              </a:solidFill>
              <a:latin typeface="Calibri"/>
              <a:ea typeface="ヒラギノ角ゴ Pro W3"/>
              <a:cs typeface="Calibri"/>
            </a:endParaRPr>
          </a:p>
        </p:txBody>
      </p:sp>
      <p:graphicFrame>
        <p:nvGraphicFramePr>
          <p:cNvPr id="2" name="Gráfico 1">
            <a:extLst>
              <a:ext uri="{FF2B5EF4-FFF2-40B4-BE49-F238E27FC236}">
                <a16:creationId xmlns:a16="http://schemas.microsoft.com/office/drawing/2014/main" id="{2E9A307B-0D5F-36C1-A345-6909A38F7DCB}"/>
              </a:ext>
            </a:extLst>
          </p:cNvPr>
          <p:cNvGraphicFramePr>
            <a:graphicFrameLocks/>
          </p:cNvGraphicFramePr>
          <p:nvPr>
            <p:extLst>
              <p:ext uri="{D42A27DB-BD31-4B8C-83A1-F6EECF244321}">
                <p14:modId xmlns:p14="http://schemas.microsoft.com/office/powerpoint/2010/main" val="2594077178"/>
              </p:ext>
            </p:extLst>
          </p:nvPr>
        </p:nvGraphicFramePr>
        <p:xfrm>
          <a:off x="4653995" y="1113044"/>
          <a:ext cx="4500000" cy="2520000"/>
        </p:xfrm>
        <a:graphic>
          <a:graphicData uri="http://schemas.openxmlformats.org/drawingml/2006/chart">
            <c:chart xmlns:c="http://schemas.openxmlformats.org/drawingml/2006/chart" xmlns:r="http://schemas.openxmlformats.org/officeDocument/2006/relationships" r:id="rId3"/>
          </a:graphicData>
        </a:graphic>
      </p:graphicFrame>
      <p:sp>
        <p:nvSpPr>
          <p:cNvPr id="4" name="Elipse 3">
            <a:extLst>
              <a:ext uri="{FF2B5EF4-FFF2-40B4-BE49-F238E27FC236}">
                <a16:creationId xmlns:a16="http://schemas.microsoft.com/office/drawing/2014/main" id="{0E4449A5-B4E9-83E2-10EF-FBDD635F14BF}"/>
              </a:ext>
            </a:extLst>
          </p:cNvPr>
          <p:cNvSpPr/>
          <p:nvPr/>
        </p:nvSpPr>
        <p:spPr>
          <a:xfrm>
            <a:off x="6237995" y="1707044"/>
            <a:ext cx="1332000" cy="1332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graphicFrame>
        <p:nvGraphicFramePr>
          <p:cNvPr id="7" name="Gráfico 6">
            <a:extLst>
              <a:ext uri="{FF2B5EF4-FFF2-40B4-BE49-F238E27FC236}">
                <a16:creationId xmlns:a16="http://schemas.microsoft.com/office/drawing/2014/main" id="{59577CFC-10F8-DAEC-8F52-C4FA2557A73B}"/>
              </a:ext>
            </a:extLst>
          </p:cNvPr>
          <p:cNvGraphicFramePr>
            <a:graphicFrameLocks/>
          </p:cNvGraphicFramePr>
          <p:nvPr>
            <p:extLst>
              <p:ext uri="{D42A27DB-BD31-4B8C-83A1-F6EECF244321}">
                <p14:modId xmlns:p14="http://schemas.microsoft.com/office/powerpoint/2010/main" val="1506886969"/>
              </p:ext>
            </p:extLst>
          </p:nvPr>
        </p:nvGraphicFramePr>
        <p:xfrm>
          <a:off x="4653995" y="4134397"/>
          <a:ext cx="4500000" cy="2520000"/>
        </p:xfrm>
        <a:graphic>
          <a:graphicData uri="http://schemas.openxmlformats.org/drawingml/2006/chart">
            <c:chart xmlns:c="http://schemas.openxmlformats.org/drawingml/2006/chart" xmlns:r="http://schemas.openxmlformats.org/officeDocument/2006/relationships" r:id="rId4"/>
          </a:graphicData>
        </a:graphic>
      </p:graphicFrame>
      <p:sp>
        <p:nvSpPr>
          <p:cNvPr id="8" name="Elipse 7">
            <a:extLst>
              <a:ext uri="{FF2B5EF4-FFF2-40B4-BE49-F238E27FC236}">
                <a16:creationId xmlns:a16="http://schemas.microsoft.com/office/drawing/2014/main" id="{B80B0A1A-59C4-2EB1-5DCD-2B35390F2587}"/>
              </a:ext>
            </a:extLst>
          </p:cNvPr>
          <p:cNvSpPr/>
          <p:nvPr/>
        </p:nvSpPr>
        <p:spPr>
          <a:xfrm>
            <a:off x="6237995" y="4728397"/>
            <a:ext cx="1332000" cy="1332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s-CL"/>
          </a:p>
        </p:txBody>
      </p:sp>
      <p:sp>
        <p:nvSpPr>
          <p:cNvPr id="9" name="Shape 460">
            <a:extLst>
              <a:ext uri="{FF2B5EF4-FFF2-40B4-BE49-F238E27FC236}">
                <a16:creationId xmlns:a16="http://schemas.microsoft.com/office/drawing/2014/main" id="{E46A9798-A933-F8B0-347E-70A2DB7B5DF6}"/>
              </a:ext>
            </a:extLst>
          </p:cNvPr>
          <p:cNvSpPr/>
          <p:nvPr/>
        </p:nvSpPr>
        <p:spPr>
          <a:xfrm>
            <a:off x="565437" y="369930"/>
            <a:ext cx="7723156" cy="524806"/>
          </a:xfrm>
          <a:prstGeom prst="rect">
            <a:avLst/>
          </a:prstGeom>
          <a:extLst>
            <a:ext uri="{C572A759-6A51-4108-AA02-DFA0A04FC94B}">
              <ma14:wrappingTextBoxFlag xmlns:ma14="http://schemas.microsoft.com/office/mac/drawingml/2011/main" xmlns="" val="1"/>
            </a:ext>
          </a:extLst>
        </p:spPr>
        <p:txBody>
          <a:bodyPr vert="horz" lIns="91440" tIns="45720" rIns="91440" bIns="45720" rtlCol="0" anchor="t">
            <a:noAutofit/>
          </a:bodyPr>
          <a:lstStyle/>
          <a:p>
            <a:pPr>
              <a:lnSpc>
                <a:spcPct val="90000"/>
              </a:lnSpc>
              <a:spcBef>
                <a:spcPts val="1000"/>
              </a:spcBef>
            </a:pPr>
            <a:r>
              <a:rPr lang="es-ES" sz="2800" b="1">
                <a:solidFill>
                  <a:srgbClr val="1F4E79"/>
                </a:solidFill>
                <a:latin typeface="gobCL"/>
                <a:sym typeface="MyriadPro-SemiboldSemiCn"/>
              </a:rPr>
              <a:t>Desarrollo de la Mesa del Sector Público (MSP)</a:t>
            </a:r>
          </a:p>
        </p:txBody>
      </p:sp>
    </p:spTree>
    <p:extLst>
      <p:ext uri="{BB962C8B-B14F-4D97-AF65-F5344CB8AC3E}">
        <p14:creationId xmlns:p14="http://schemas.microsoft.com/office/powerpoint/2010/main" val="297031736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460"/>
          <p:cNvSpPr/>
          <p:nvPr/>
        </p:nvSpPr>
        <p:spPr>
          <a:xfrm>
            <a:off x="555082" y="362740"/>
            <a:ext cx="7445929" cy="554711"/>
          </a:xfrm>
          <a:prstGeom prst="rect">
            <a:avLst/>
          </a:prstGeom>
          <a:extLst>
            <a:ext uri="{C572A759-6A51-4108-AA02-DFA0A04FC94B}">
              <ma14:wrappingTextBoxFlag xmlns:ma14="http://schemas.microsoft.com/office/mac/drawingml/2011/main" xmlns="" val="1"/>
            </a:ext>
          </a:extLst>
        </p:spPr>
        <p:txBody>
          <a:bodyPr vert="horz" lIns="91440" tIns="45720" rIns="91440" bIns="45720" rtlCol="0" anchor="t">
            <a:noAutofit/>
          </a:bodyPr>
          <a:lstStyle/>
          <a:p>
            <a:pPr>
              <a:lnSpc>
                <a:spcPct val="90000"/>
              </a:lnSpc>
              <a:spcBef>
                <a:spcPts val="1000"/>
              </a:spcBef>
            </a:pPr>
            <a:r>
              <a:rPr lang="es-ES" sz="2800" b="1">
                <a:solidFill>
                  <a:srgbClr val="1F4E79"/>
                </a:solidFill>
                <a:latin typeface="gobCL"/>
                <a:sym typeface="MyriadPro-SemiboldSemiCn"/>
              </a:rPr>
              <a:t>Protocolo de Acuerdo</a:t>
            </a:r>
          </a:p>
        </p:txBody>
      </p:sp>
      <p:sp>
        <p:nvSpPr>
          <p:cNvPr id="4" name="CuadroTexto 3"/>
          <p:cNvSpPr txBox="1"/>
          <p:nvPr/>
        </p:nvSpPr>
        <p:spPr>
          <a:xfrm>
            <a:off x="520085" y="1293176"/>
            <a:ext cx="10383889" cy="4678204"/>
          </a:xfrm>
          <a:prstGeom prst="rect">
            <a:avLst/>
          </a:prstGeom>
          <a:noFill/>
        </p:spPr>
        <p:txBody>
          <a:bodyPr wrap="square" lIns="91440" tIns="45720" rIns="91440" bIns="45720" rtlCol="0" anchor="t">
            <a:spAutoFit/>
          </a:bodyPr>
          <a:lstStyle/>
          <a:p>
            <a:pPr algn="just">
              <a:defRPr/>
            </a:pPr>
            <a:r>
              <a:rPr lang="es-CL">
                <a:solidFill>
                  <a:srgbClr val="1F4E79"/>
                </a:solidFill>
                <a:latin typeface="gobCL" pitchFamily="50" charset="0"/>
                <a:ea typeface="Verdana"/>
                <a:cs typeface="Arial"/>
              </a:rPr>
              <a:t>El gobierno y la Mesa del Sector Público (MSP) lograron avanzar sustantivamente en un protocolo de acuerdo firmado por la CUT y </a:t>
            </a:r>
            <a:r>
              <a:rPr lang="es-CL" b="1">
                <a:solidFill>
                  <a:srgbClr val="1F4E79"/>
                </a:solidFill>
                <a:latin typeface="gobCL" pitchFamily="50" charset="0"/>
                <a:ea typeface="Verdana"/>
                <a:cs typeface="Arial"/>
              </a:rPr>
              <a:t>14 de las 15 de organizaciones gremiales </a:t>
            </a:r>
            <a:r>
              <a:rPr lang="es-CL">
                <a:solidFill>
                  <a:srgbClr val="1F4E79"/>
                </a:solidFill>
                <a:latin typeface="gobCL" pitchFamily="50" charset="0"/>
                <a:ea typeface="Verdana"/>
                <a:cs typeface="Arial"/>
              </a:rPr>
              <a:t>del sector público que la integran: ANEF, ASEMUCH, CONFENATS, FENTESS, CONFUSAM, AJUNJI, FENFUSSAP, CONFEMUCH, FENAFUCH, FENAFUECH, FENATS Unitaria, FAUECH, CONFEDEPRUS y Colegio de Profesores. </a:t>
            </a:r>
          </a:p>
          <a:p>
            <a:pPr algn="just">
              <a:defRPr/>
            </a:pPr>
            <a:endParaRPr lang="es-CL">
              <a:solidFill>
                <a:srgbClr val="1F4E79"/>
              </a:solidFill>
              <a:latin typeface="gobCL" pitchFamily="50" charset="0"/>
              <a:ea typeface="Verdana"/>
              <a:cs typeface="Arial"/>
            </a:endParaRPr>
          </a:p>
          <a:p>
            <a:pPr algn="just">
              <a:spcAft>
                <a:spcPts val="600"/>
              </a:spcAft>
              <a:defRPr/>
            </a:pPr>
            <a:r>
              <a:rPr lang="es-CL">
                <a:solidFill>
                  <a:srgbClr val="1F4E79"/>
                </a:solidFill>
                <a:latin typeface="gobCL" pitchFamily="50" charset="0"/>
                <a:ea typeface="Verdana"/>
                <a:cs typeface="Arial"/>
              </a:rPr>
              <a:t>El protocolo de acuerdo contempla:</a:t>
            </a:r>
          </a:p>
          <a:p>
            <a:pPr marL="541338" indent="-187325" algn="just">
              <a:buAutoNum type="arabicPeriod"/>
              <a:defRPr/>
            </a:pPr>
            <a:r>
              <a:rPr lang="es-CL">
                <a:solidFill>
                  <a:srgbClr val="1F4E79"/>
                </a:solidFill>
                <a:latin typeface="gobCL" pitchFamily="50" charset="0"/>
                <a:ea typeface="Verdana"/>
                <a:cs typeface="Arial"/>
              </a:rPr>
              <a:t>Una </a:t>
            </a:r>
            <a:r>
              <a:rPr lang="es-CL" b="1">
                <a:solidFill>
                  <a:srgbClr val="1F4E79"/>
                </a:solidFill>
                <a:latin typeface="gobCL" pitchFamily="50" charset="0"/>
                <a:ea typeface="Verdana"/>
                <a:cs typeface="Arial"/>
              </a:rPr>
              <a:t>Agenda de Trabajo </a:t>
            </a:r>
            <a:r>
              <a:rPr lang="es-CL">
                <a:solidFill>
                  <a:srgbClr val="1F4E79"/>
                </a:solidFill>
                <a:latin typeface="gobCL" pitchFamily="50" charset="0"/>
                <a:ea typeface="Verdana"/>
                <a:cs typeface="Arial"/>
              </a:rPr>
              <a:t>para el año 2023 – 2024:</a:t>
            </a:r>
          </a:p>
          <a:p>
            <a:pPr marL="1071563" lvl="1" indent="-176213" algn="just">
              <a:spcAft>
                <a:spcPts val="600"/>
              </a:spcAft>
              <a:buFont typeface="Arial"/>
              <a:buChar char="•"/>
              <a:tabLst>
                <a:tab pos="1169988" algn="l"/>
              </a:tabLst>
              <a:defRPr/>
            </a:pPr>
            <a:r>
              <a:rPr lang="es-CL">
                <a:solidFill>
                  <a:srgbClr val="1F4E79"/>
                </a:solidFill>
                <a:latin typeface="gobCL" pitchFamily="50" charset="0"/>
                <a:ea typeface="Verdana"/>
                <a:cs typeface="Arial"/>
              </a:rPr>
              <a:t>Se tratarán distintas materias planteadas en la Mesa, la que abordará materias referidas al fortalecimiento de la función pública, el compromiso de avanzar en Trabajo Decente, el mejoramiento de las condiciones laborales de los/as funcionarios/as, la igualdad de oportunidades y el cierre de brechas de género y salariales, incorporadas en el Pliego de Negociación.</a:t>
            </a:r>
          </a:p>
          <a:p>
            <a:pPr marL="1071563" lvl="1" indent="-176213" algn="just">
              <a:buFont typeface="Arial"/>
              <a:buChar char="•"/>
              <a:tabLst>
                <a:tab pos="1169988" algn="l"/>
              </a:tabLst>
              <a:defRPr/>
            </a:pPr>
            <a:r>
              <a:rPr lang="es-CL">
                <a:solidFill>
                  <a:srgbClr val="1F4E79"/>
                </a:solidFill>
                <a:latin typeface="gobCL" pitchFamily="50" charset="0"/>
                <a:ea typeface="Verdana"/>
                <a:cs typeface="Arial"/>
              </a:rPr>
              <a:t>Lo anterior contempla la continuidad de mesas existentes, y la incorporación de una mesa sectorial para analizar la estructura de planta de la JUNJI.</a:t>
            </a:r>
          </a:p>
          <a:p>
            <a:pPr marL="400050" indent="-400050" algn="just">
              <a:buAutoNum type="arabicPeriod"/>
              <a:defRPr/>
            </a:pPr>
            <a:endParaRPr lang="es-CL">
              <a:solidFill>
                <a:srgbClr val="1F4E79"/>
              </a:solidFill>
              <a:latin typeface="gobCL" pitchFamily="50" charset="0"/>
              <a:ea typeface="Verdana" panose="020B0604030504040204" pitchFamily="34" charset="0"/>
              <a:cs typeface="Arial" panose="020B0604020202020204" pitchFamily="34" charset="0"/>
            </a:endParaRPr>
          </a:p>
          <a:p>
            <a:pPr marL="541338" indent="-187325" algn="just">
              <a:buAutoNum type="arabicPeriod"/>
              <a:defRPr/>
            </a:pPr>
            <a:r>
              <a:rPr lang="es-CL">
                <a:solidFill>
                  <a:srgbClr val="1F4E79"/>
                </a:solidFill>
                <a:latin typeface="gobCL" pitchFamily="50" charset="0"/>
                <a:ea typeface="Verdana"/>
                <a:cs typeface="Arial"/>
              </a:rPr>
              <a:t>Un acuerdo en</a:t>
            </a:r>
            <a:r>
              <a:rPr lang="es-CL" b="1">
                <a:solidFill>
                  <a:srgbClr val="1F4E79"/>
                </a:solidFill>
                <a:latin typeface="gobCL" pitchFamily="50" charset="0"/>
                <a:ea typeface="Verdana"/>
                <a:cs typeface="Arial"/>
              </a:rPr>
              <a:t> materia </a:t>
            </a:r>
            <a:r>
              <a:rPr lang="es-CL" b="1" err="1">
                <a:solidFill>
                  <a:srgbClr val="1F4E79"/>
                </a:solidFill>
                <a:latin typeface="gobCL" pitchFamily="50" charset="0"/>
                <a:ea typeface="Verdana"/>
                <a:cs typeface="Arial"/>
              </a:rPr>
              <a:t>remuneracional</a:t>
            </a:r>
            <a:r>
              <a:rPr lang="es-CL" b="1">
                <a:solidFill>
                  <a:srgbClr val="1F4E79"/>
                </a:solidFill>
                <a:latin typeface="gobCL" pitchFamily="50" charset="0"/>
                <a:ea typeface="Verdana"/>
                <a:cs typeface="Arial"/>
              </a:rPr>
              <a:t>.</a:t>
            </a:r>
            <a:endParaRPr lang="es-CL" b="1" i="0" u="none" strike="noStrike" kern="1200" cap="none" spc="0" normalizeH="0" baseline="0" noProof="0">
              <a:ln>
                <a:noFill/>
              </a:ln>
              <a:solidFill>
                <a:srgbClr val="1F4E79"/>
              </a:solidFill>
              <a:effectLst/>
              <a:uLnTx/>
              <a:uFillTx/>
              <a:latin typeface="gobCL" pitchFamily="50" charset="0"/>
              <a:ea typeface="Verdana" panose="020B0604030504040204" pitchFamily="34" charset="0"/>
              <a:cs typeface="Arial" panose="020B0604020202020204" pitchFamily="34" charset="0"/>
            </a:endParaRPr>
          </a:p>
        </p:txBody>
      </p:sp>
      <p:sp>
        <p:nvSpPr>
          <p:cNvPr id="2" name="Elipse 1">
            <a:extLst>
              <a:ext uri="{FF2B5EF4-FFF2-40B4-BE49-F238E27FC236}">
                <a16:creationId xmlns:a16="http://schemas.microsoft.com/office/drawing/2014/main" id="{A913E2A7-79DE-6C2F-F302-2FAA7CE0D505}"/>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 name="Marcador de número de diapositiva 2">
            <a:extLst>
              <a:ext uri="{FF2B5EF4-FFF2-40B4-BE49-F238E27FC236}">
                <a16:creationId xmlns:a16="http://schemas.microsoft.com/office/drawing/2014/main" id="{824A8DB3-315B-4DE6-4E05-559CE629C48B}"/>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15</a:t>
            </a:fld>
            <a:endParaRPr lang="en-US" b="1">
              <a:solidFill>
                <a:schemeClr val="bg1"/>
              </a:solidFill>
              <a:latin typeface="Calibri"/>
              <a:ea typeface="ヒラギノ角ゴ Pro W3"/>
              <a:cs typeface="Calibri"/>
            </a:endParaRPr>
          </a:p>
        </p:txBody>
      </p:sp>
    </p:spTree>
    <p:extLst>
      <p:ext uri="{BB962C8B-B14F-4D97-AF65-F5344CB8AC3E}">
        <p14:creationId xmlns:p14="http://schemas.microsoft.com/office/powerpoint/2010/main" val="190917172"/>
      </p:ext>
    </p:extLst>
  </p:cSld>
  <p:clrMapOvr>
    <a:overrideClrMapping bg1="lt1" tx1="dk1" bg2="lt2" tx2="dk2" accent1="accent1" accent2="accent2" accent3="accent3" accent4="accent4" accent5="accent5" accent6="accent6" hlink="hlink" folHlink="folHlink"/>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n 11">
            <a:extLst>
              <a:ext uri="{FF2B5EF4-FFF2-40B4-BE49-F238E27FC236}">
                <a16:creationId xmlns:a16="http://schemas.microsoft.com/office/drawing/2014/main" id="{7AF9D053-6955-7188-455C-6D555BF6F157}"/>
              </a:ext>
            </a:extLst>
          </p:cNvPr>
          <p:cNvPicPr>
            <a:picLocks noChangeAspect="1"/>
          </p:cNvPicPr>
          <p:nvPr/>
        </p:nvPicPr>
        <p:blipFill rotWithShape="1">
          <a:blip r:embed="rId2"/>
          <a:srcRect l="3779" t="3048" r="7294"/>
          <a:stretch/>
        </p:blipFill>
        <p:spPr>
          <a:xfrm>
            <a:off x="6284068" y="1001949"/>
            <a:ext cx="4620638" cy="5671226"/>
          </a:xfrm>
          <a:prstGeom prst="rect">
            <a:avLst/>
          </a:prstGeom>
        </p:spPr>
      </p:pic>
      <p:sp>
        <p:nvSpPr>
          <p:cNvPr id="4" name="Shape 460">
            <a:extLst>
              <a:ext uri="{FF2B5EF4-FFF2-40B4-BE49-F238E27FC236}">
                <a16:creationId xmlns:a16="http://schemas.microsoft.com/office/drawing/2014/main" id="{F4BFACB6-EF56-555C-7344-34F4D88EC1D7}"/>
              </a:ext>
            </a:extLst>
          </p:cNvPr>
          <p:cNvSpPr/>
          <p:nvPr/>
        </p:nvSpPr>
        <p:spPr>
          <a:xfrm>
            <a:off x="473484" y="350696"/>
            <a:ext cx="7445929" cy="412401"/>
          </a:xfrm>
          <a:prstGeom prst="rect">
            <a:avLst/>
          </a:prstGeom>
          <a:extLst>
            <a:ext uri="{C572A759-6A51-4108-AA02-DFA0A04FC94B}">
              <ma14:wrappingTextBoxFlag xmlns:ma14="http://schemas.microsoft.com/office/mac/drawingml/2011/main" xmlns="" val="1"/>
            </a:ext>
          </a:extLst>
        </p:spPr>
        <p:txBody>
          <a:bodyPr vert="horz" lIns="91440" tIns="45720" rIns="91440" bIns="45720" rtlCol="0" anchor="t">
            <a:noAutofit/>
          </a:bodyPr>
          <a:lstStyle/>
          <a:p>
            <a:pPr>
              <a:lnSpc>
                <a:spcPct val="90000"/>
              </a:lnSpc>
              <a:spcBef>
                <a:spcPts val="1000"/>
              </a:spcBef>
            </a:pPr>
            <a:r>
              <a:rPr lang="es-ES" sz="2800" b="1">
                <a:solidFill>
                  <a:srgbClr val="1F4E79"/>
                </a:solidFill>
                <a:latin typeface="gobCL"/>
                <a:sym typeface="MyriadPro-SemiboldSemiCn"/>
              </a:rPr>
              <a:t> Protocolo de Acuerdo </a:t>
            </a:r>
            <a:endParaRPr lang="es-ES" sz="2800" b="1">
              <a:solidFill>
                <a:srgbClr val="1F4E79"/>
              </a:solidFill>
              <a:latin typeface="gobCL"/>
            </a:endParaRPr>
          </a:p>
        </p:txBody>
      </p:sp>
      <p:pic>
        <p:nvPicPr>
          <p:cNvPr id="6" name="Imagen 5">
            <a:extLst>
              <a:ext uri="{FF2B5EF4-FFF2-40B4-BE49-F238E27FC236}">
                <a16:creationId xmlns:a16="http://schemas.microsoft.com/office/drawing/2014/main" id="{7D887D13-CC92-5BD6-C855-C1F62FC96CAF}"/>
              </a:ext>
            </a:extLst>
          </p:cNvPr>
          <p:cNvPicPr>
            <a:picLocks noChangeAspect="1"/>
          </p:cNvPicPr>
          <p:nvPr/>
        </p:nvPicPr>
        <p:blipFill rotWithShape="1">
          <a:blip r:embed="rId3"/>
          <a:srcRect t="17408" b="20612"/>
          <a:stretch/>
        </p:blipFill>
        <p:spPr>
          <a:xfrm>
            <a:off x="627453" y="4192621"/>
            <a:ext cx="5468547" cy="2227633"/>
          </a:xfrm>
          <a:prstGeom prst="rect">
            <a:avLst/>
          </a:prstGeom>
          <a:ln>
            <a:noFill/>
          </a:ln>
          <a:effectLst>
            <a:outerShdw blurRad="292100" dist="139700" dir="2700000" algn="tl" rotWithShape="0">
              <a:srgbClr val="333333">
                <a:alpha val="65000"/>
              </a:srgbClr>
            </a:outerShdw>
          </a:effectLst>
        </p:spPr>
      </p:pic>
      <p:pic>
        <p:nvPicPr>
          <p:cNvPr id="10" name="Imagen 9">
            <a:extLst>
              <a:ext uri="{FF2B5EF4-FFF2-40B4-BE49-F238E27FC236}">
                <a16:creationId xmlns:a16="http://schemas.microsoft.com/office/drawing/2014/main" id="{9501745F-4851-7888-647A-4AE0DF7B64F5}"/>
              </a:ext>
            </a:extLst>
          </p:cNvPr>
          <p:cNvPicPr>
            <a:picLocks noChangeAspect="1"/>
          </p:cNvPicPr>
          <p:nvPr/>
        </p:nvPicPr>
        <p:blipFill rotWithShape="1">
          <a:blip r:embed="rId4"/>
          <a:srcRect t="9137"/>
          <a:stretch/>
        </p:blipFill>
        <p:spPr>
          <a:xfrm>
            <a:off x="616705" y="1089498"/>
            <a:ext cx="5479295" cy="2810530"/>
          </a:xfrm>
          <a:prstGeom prst="rect">
            <a:avLst/>
          </a:prstGeom>
          <a:ln>
            <a:noFill/>
          </a:ln>
          <a:effectLst>
            <a:outerShdw blurRad="292100" dist="139700" dir="2700000" algn="tl" rotWithShape="0">
              <a:srgbClr val="333333">
                <a:alpha val="65000"/>
              </a:srgbClr>
            </a:outerShdw>
          </a:effectLst>
        </p:spPr>
      </p:pic>
      <p:sp>
        <p:nvSpPr>
          <p:cNvPr id="2" name="Elipse 1">
            <a:extLst>
              <a:ext uri="{FF2B5EF4-FFF2-40B4-BE49-F238E27FC236}">
                <a16:creationId xmlns:a16="http://schemas.microsoft.com/office/drawing/2014/main" id="{6E82127A-30EF-D8D8-FAC8-D4CA1AFE1016}"/>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 name="Marcador de número de diapositiva 2">
            <a:extLst>
              <a:ext uri="{FF2B5EF4-FFF2-40B4-BE49-F238E27FC236}">
                <a16:creationId xmlns:a16="http://schemas.microsoft.com/office/drawing/2014/main" id="{D1A9F4B0-5550-96EE-A068-C01CCC88CE8D}"/>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16</a:t>
            </a:fld>
            <a:endParaRPr lang="en-US" b="1">
              <a:solidFill>
                <a:schemeClr val="bg1"/>
              </a:solidFill>
              <a:latin typeface="Calibri"/>
              <a:ea typeface="ヒラギノ角ゴ Pro W3"/>
              <a:cs typeface="Calibri"/>
            </a:endParaRPr>
          </a:p>
        </p:txBody>
      </p:sp>
    </p:spTree>
    <p:extLst>
      <p:ext uri="{BB962C8B-B14F-4D97-AF65-F5344CB8AC3E}">
        <p14:creationId xmlns:p14="http://schemas.microsoft.com/office/powerpoint/2010/main" val="26850669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3 Rectángulo">
            <a:extLst>
              <a:ext uri="{FF2B5EF4-FFF2-40B4-BE49-F238E27FC236}">
                <a16:creationId xmlns:a16="http://schemas.microsoft.com/office/drawing/2014/main" id="{93E5770B-911A-6D5F-E1F1-2CE364F1BFD5}"/>
              </a:ext>
            </a:extLst>
          </p:cNvPr>
          <p:cNvSpPr/>
          <p:nvPr/>
        </p:nvSpPr>
        <p:spPr>
          <a:xfrm>
            <a:off x="598812" y="4364306"/>
            <a:ext cx="10294159" cy="535329"/>
          </a:xfrm>
          <a:prstGeom prst="rect">
            <a:avLst/>
          </a:prstGeom>
          <a:solidFill>
            <a:srgbClr val="1F4E79"/>
          </a:solid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Verdana" panose="020B0604030504040204" pitchFamily="34" charset="0"/>
              <a:ea typeface="Verdana" panose="020B0604030504040204" pitchFamily="34" charset="0"/>
            </a:endParaRPr>
          </a:p>
        </p:txBody>
      </p:sp>
      <p:sp>
        <p:nvSpPr>
          <p:cNvPr id="9" name="1 Rectángulo">
            <a:extLst>
              <a:ext uri="{FF2B5EF4-FFF2-40B4-BE49-F238E27FC236}">
                <a16:creationId xmlns:a16="http://schemas.microsoft.com/office/drawing/2014/main" id="{4E9AE144-466A-E5E3-25D8-30F489C5C70F}"/>
              </a:ext>
            </a:extLst>
          </p:cNvPr>
          <p:cNvSpPr/>
          <p:nvPr/>
        </p:nvSpPr>
        <p:spPr>
          <a:xfrm>
            <a:off x="545433" y="2923811"/>
            <a:ext cx="9309767" cy="3416320"/>
          </a:xfrm>
          <a:prstGeom prst="rect">
            <a:avLst/>
          </a:prstGeom>
        </p:spPr>
        <p:txBody>
          <a:bodyPr wrap="square" lIns="91440" tIns="45720" rIns="91440" bIns="45720" anchor="t">
            <a:spAutoFit/>
          </a:bodyPr>
          <a:lstStyle/>
          <a:p>
            <a:pPr marL="457200" indent="-342900">
              <a:buAutoNum type="arabicPeriod"/>
            </a:pPr>
            <a:r>
              <a:rPr lang="es-ES" sz="2400" dirty="0">
                <a:solidFill>
                  <a:srgbClr val="1F4E79"/>
                </a:solidFill>
                <a:latin typeface="gobCL"/>
                <a:ea typeface="Verdana"/>
                <a:cs typeface="Arial"/>
              </a:rPr>
              <a:t>Antecedentes de contexto </a:t>
            </a:r>
            <a:endParaRPr lang="es-ES" sz="2400" dirty="0">
              <a:solidFill>
                <a:srgbClr val="1F4E79"/>
              </a:solidFill>
              <a:latin typeface="gobCL"/>
              <a:ea typeface="Verdana" panose="020B0604030504040204" pitchFamily="34" charset="0"/>
              <a:cs typeface="Arial" panose="020B0604020202020204" pitchFamily="34" charset="0"/>
            </a:endParaRPr>
          </a:p>
          <a:p>
            <a:pPr marL="457200" indent="-342900">
              <a:buAutoNum type="arabicPeriod"/>
            </a:pPr>
            <a:endParaRPr lang="es-ES" sz="2400" dirty="0">
              <a:solidFill>
                <a:srgbClr val="1F4E79"/>
              </a:solidFill>
              <a:latin typeface="gobCL"/>
              <a:ea typeface="Verdana"/>
              <a:cs typeface="Arial"/>
            </a:endParaRPr>
          </a:p>
          <a:p>
            <a:pPr marL="457200" indent="-342900">
              <a:buFont typeface="+mj-lt"/>
              <a:buAutoNum type="arabicPeriod"/>
            </a:pPr>
            <a:r>
              <a:rPr lang="es-CL" sz="2400" dirty="0">
                <a:solidFill>
                  <a:srgbClr val="1F4E79"/>
                </a:solidFill>
                <a:latin typeface="gobCL"/>
                <a:ea typeface="Verdana"/>
                <a:cs typeface="Arial"/>
              </a:rPr>
              <a:t>Protocolo de Acuerdo del Reajuste General del Sector Público</a:t>
            </a:r>
          </a:p>
          <a:p>
            <a:pPr marL="457200" indent="-342900">
              <a:buAutoNum type="arabicPeriod"/>
            </a:pPr>
            <a:endParaRPr lang="es-CL" sz="2400" dirty="0">
              <a:solidFill>
                <a:srgbClr val="1F4E79"/>
              </a:solidFill>
              <a:latin typeface="gobCL"/>
              <a:ea typeface="Verdana"/>
              <a:cs typeface="Arial"/>
            </a:endParaRPr>
          </a:p>
          <a:p>
            <a:pPr marL="457200" indent="-342900">
              <a:buFont typeface="+mj-lt"/>
              <a:buAutoNum type="arabicPeriod"/>
            </a:pPr>
            <a:r>
              <a:rPr lang="es-CL" sz="2400" dirty="0">
                <a:solidFill>
                  <a:schemeClr val="bg1"/>
                </a:solidFill>
                <a:latin typeface="gobCL"/>
                <a:ea typeface="Verdana"/>
                <a:cs typeface="Arial"/>
              </a:rPr>
              <a:t>Agenda de trabajo 2023 – 2024</a:t>
            </a:r>
          </a:p>
          <a:p>
            <a:pPr marL="457200" indent="-342900">
              <a:buFont typeface="+mj-lt"/>
              <a:buAutoNum type="arabicPeriod"/>
            </a:pPr>
            <a:endParaRPr lang="es-CL" sz="2400" dirty="0">
              <a:solidFill>
                <a:schemeClr val="bg1"/>
              </a:solidFill>
              <a:latin typeface="gobCL"/>
              <a:ea typeface="Verdana"/>
              <a:cs typeface="Arial"/>
            </a:endParaRPr>
          </a:p>
          <a:p>
            <a:pPr marL="457200" indent="-342900">
              <a:buFont typeface="+mj-lt"/>
              <a:buAutoNum type="arabicPeriod"/>
            </a:pPr>
            <a:r>
              <a:rPr lang="es-CL" sz="2400" dirty="0">
                <a:solidFill>
                  <a:srgbClr val="1F4E79"/>
                </a:solidFill>
                <a:latin typeface="gobCL"/>
                <a:ea typeface="Verdana"/>
                <a:cs typeface="Arial"/>
              </a:rPr>
              <a:t>Contenidos del proyecto de ley</a:t>
            </a:r>
          </a:p>
          <a:p>
            <a:pPr marL="457200" indent="-342900">
              <a:buFont typeface="+mj-lt"/>
              <a:buAutoNum type="arabicPeriod"/>
            </a:pPr>
            <a:endParaRPr lang="es-CL" sz="2400" dirty="0">
              <a:solidFill>
                <a:srgbClr val="1F4E79"/>
              </a:solidFill>
              <a:latin typeface="gobCL"/>
              <a:ea typeface="Verdana" panose="020B0604030504040204" pitchFamily="34" charset="0"/>
              <a:cs typeface="Arial" panose="020B0604020202020204" pitchFamily="34" charset="0"/>
            </a:endParaRPr>
          </a:p>
          <a:p>
            <a:pPr marL="457200" indent="-342900">
              <a:buFont typeface="+mj-lt"/>
              <a:buAutoNum type="arabicPeriod"/>
            </a:pPr>
            <a:r>
              <a:rPr lang="es-CL" sz="2400" dirty="0">
                <a:solidFill>
                  <a:srgbClr val="1F4E79"/>
                </a:solidFill>
                <a:latin typeface="gobCL"/>
                <a:ea typeface="Verdana"/>
                <a:cs typeface="Arial"/>
              </a:rPr>
              <a:t>Informe Financiero</a:t>
            </a:r>
            <a:endParaRPr lang="es-CL" sz="2400" dirty="0">
              <a:solidFill>
                <a:srgbClr val="1F4E79"/>
              </a:solidFill>
              <a:latin typeface="gobCL"/>
              <a:ea typeface="Verdana" panose="020B0604030504040204" pitchFamily="34" charset="0"/>
              <a:cs typeface="Arial" panose="020B0604020202020204" pitchFamily="34" charset="0"/>
            </a:endParaRPr>
          </a:p>
        </p:txBody>
      </p:sp>
      <p:sp>
        <p:nvSpPr>
          <p:cNvPr id="11" name="Shape 460">
            <a:extLst>
              <a:ext uri="{FF2B5EF4-FFF2-40B4-BE49-F238E27FC236}">
                <a16:creationId xmlns:a16="http://schemas.microsoft.com/office/drawing/2014/main" id="{4666F611-E0C7-08CE-5CEB-921D8177CE22}"/>
              </a:ext>
            </a:extLst>
          </p:cNvPr>
          <p:cNvSpPr/>
          <p:nvPr/>
        </p:nvSpPr>
        <p:spPr>
          <a:xfrm>
            <a:off x="598812" y="359920"/>
            <a:ext cx="2731922" cy="710270"/>
          </a:xfrm>
          <a:prstGeom prst="rect">
            <a:avLst/>
          </a:prstGeom>
          <a:extLst>
            <a:ext uri="{C572A759-6A51-4108-AA02-DFA0A04FC94B}">
              <ma14:wrappingTextBoxFlag xmlns:ma14="http://schemas.microsoft.com/office/mac/drawingml/2011/main" xmlns="" val="1"/>
            </a:ext>
          </a:extLst>
        </p:spPr>
        <p:txBody>
          <a:bodyPr vert="horz" lIns="91440" tIns="45720" rIns="91440" bIns="45720" rtlCol="0" anchor="t">
            <a:noAutofit/>
          </a:bodyPr>
          <a:lstStyle/>
          <a:p>
            <a:pPr>
              <a:lnSpc>
                <a:spcPct val="90000"/>
              </a:lnSpc>
              <a:spcBef>
                <a:spcPts val="1000"/>
              </a:spcBef>
            </a:pPr>
            <a:r>
              <a:rPr lang="es-CL" sz="2800" b="1">
                <a:solidFill>
                  <a:srgbClr val="1F4E79"/>
                </a:solidFill>
                <a:latin typeface="gobCL"/>
                <a:sym typeface="MyriadPro-SemiboldSemiCn"/>
              </a:rPr>
              <a:t>Agenda</a:t>
            </a:r>
            <a:endParaRPr lang="es-ES" sz="2800" b="1">
              <a:solidFill>
                <a:srgbClr val="1F4E79"/>
              </a:solidFill>
              <a:latin typeface="gobCL"/>
            </a:endParaRPr>
          </a:p>
        </p:txBody>
      </p:sp>
    </p:spTree>
    <p:extLst>
      <p:ext uri="{BB962C8B-B14F-4D97-AF65-F5344CB8AC3E}">
        <p14:creationId xmlns:p14="http://schemas.microsoft.com/office/powerpoint/2010/main" val="16233263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7" name="Objeto 6" hidden="1"/>
                      <p:cNvPicPr/>
                      <p:nvPr/>
                    </p:nvPicPr>
                    <p:blipFill>
                      <a:blip r:embed="rId5"/>
                      <a:stretch>
                        <a:fillRect/>
                      </a:stretch>
                    </p:blipFill>
                    <p:spPr>
                      <a:xfrm>
                        <a:off x="1525588" y="1588"/>
                        <a:ext cx="1588" cy="1588"/>
                      </a:xfrm>
                      <a:prstGeom prst="rect">
                        <a:avLst/>
                      </a:prstGeom>
                    </p:spPr>
                  </p:pic>
                </p:oleObj>
              </mc:Fallback>
            </mc:AlternateContent>
          </a:graphicData>
        </a:graphic>
      </p:graphicFrame>
      <p:cxnSp>
        <p:nvCxnSpPr>
          <p:cNvPr id="5" name="Conector recto 4"/>
          <p:cNvCxnSpPr/>
          <p:nvPr/>
        </p:nvCxnSpPr>
        <p:spPr>
          <a:xfrm flipV="1">
            <a:off x="678579" y="1332150"/>
            <a:ext cx="1544651" cy="3594"/>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 name="Conector recto 5"/>
          <p:cNvCxnSpPr>
            <a:cxnSpLocks/>
          </p:cNvCxnSpPr>
          <p:nvPr/>
        </p:nvCxnSpPr>
        <p:spPr>
          <a:xfrm>
            <a:off x="2604836" y="1332150"/>
            <a:ext cx="8291764"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8" name="Título 5"/>
          <p:cNvSpPr txBox="1">
            <a:spLocks/>
          </p:cNvSpPr>
          <p:nvPr/>
        </p:nvSpPr>
        <p:spPr>
          <a:xfrm>
            <a:off x="0" y="426815"/>
            <a:ext cx="9432780" cy="581412"/>
          </a:xfrm>
          <a:prstGeom prst="rect">
            <a:avLst/>
          </a:prstGeom>
          <a:noFill/>
          <a:ln w="9525">
            <a:noFill/>
            <a:miter lim="800000"/>
            <a:headEnd/>
            <a:tailEnd/>
          </a:ln>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535940" algn="l"/>
            <a:r>
              <a:rPr lang="es-ES_tradnl" sz="2800" b="1">
                <a:solidFill>
                  <a:srgbClr val="1F4E79"/>
                </a:solidFill>
                <a:latin typeface="gobCL"/>
                <a:ea typeface="Verdana"/>
                <a:cs typeface="Arial"/>
              </a:rPr>
              <a:t>Agenda  de trabajo 2023 – 2024</a:t>
            </a:r>
          </a:p>
          <a:p>
            <a:pPr marL="535940" algn="l"/>
            <a:r>
              <a:rPr lang="es-ES_tradnl" sz="1600" b="1">
                <a:solidFill>
                  <a:schemeClr val="tx1">
                    <a:lumMod val="50000"/>
                    <a:lumOff val="50000"/>
                  </a:schemeClr>
                </a:solidFill>
                <a:latin typeface="gobCL"/>
                <a:ea typeface="Verdana"/>
                <a:cs typeface="Arial"/>
              </a:rPr>
              <a:t>PRINCIPALES MATERIAS</a:t>
            </a:r>
          </a:p>
        </p:txBody>
      </p:sp>
      <p:sp>
        <p:nvSpPr>
          <p:cNvPr id="13" name="Pentágono 12"/>
          <p:cNvSpPr/>
          <p:nvPr/>
        </p:nvSpPr>
        <p:spPr>
          <a:xfrm>
            <a:off x="677419" y="1451306"/>
            <a:ext cx="1787769" cy="1520494"/>
          </a:xfrm>
          <a:prstGeom prst="homePlate">
            <a:avLst>
              <a:gd name="adj" fmla="val 14184"/>
            </a:avLst>
          </a:prstGeom>
          <a:solidFill>
            <a:srgbClr val="1F4E79"/>
          </a:solidFill>
          <a:ln>
            <a:solidFill>
              <a:srgbClr val="1F4E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a:latin typeface="gobCL" pitchFamily="50" charset="0"/>
                <a:cs typeface="Arial" panose="020B0604020202020204" pitchFamily="34" charset="0"/>
              </a:rPr>
              <a:t>Incentivo </a:t>
            </a:r>
          </a:p>
          <a:p>
            <a:pPr algn="ctr"/>
            <a:r>
              <a:rPr lang="es-ES" b="1">
                <a:latin typeface="gobCL" pitchFamily="50" charset="0"/>
                <a:cs typeface="Arial" panose="020B0604020202020204" pitchFamily="34" charset="0"/>
              </a:rPr>
              <a:t>al retiro</a:t>
            </a:r>
            <a:endParaRPr lang="es-CL" b="1">
              <a:latin typeface="gobCL" pitchFamily="50" charset="0"/>
              <a:cs typeface="Arial" panose="020B0604020202020204" pitchFamily="34" charset="0"/>
            </a:endParaRPr>
          </a:p>
        </p:txBody>
      </p:sp>
      <p:sp>
        <p:nvSpPr>
          <p:cNvPr id="15" name="Rectángulo 14"/>
          <p:cNvSpPr/>
          <p:nvPr/>
        </p:nvSpPr>
        <p:spPr>
          <a:xfrm>
            <a:off x="2533256" y="1482409"/>
            <a:ext cx="8388744" cy="1569660"/>
          </a:xfrm>
          <a:prstGeom prst="rect">
            <a:avLst/>
          </a:prstGeom>
        </p:spPr>
        <p:txBody>
          <a:bodyPr wrap="square" lIns="91440" tIns="45720" rIns="91440" bIns="45720" anchor="t">
            <a:spAutoFit/>
          </a:bodyPr>
          <a:lstStyle/>
          <a:p>
            <a:pPr marL="177800" indent="-177800" algn="just">
              <a:buFont typeface="Arial" panose="020B0604020202020204" pitchFamily="34" charset="0"/>
              <a:buChar char="•"/>
            </a:pPr>
            <a:r>
              <a:rPr lang="es-ES" sz="1600">
                <a:solidFill>
                  <a:srgbClr val="1F4E79"/>
                </a:solidFill>
                <a:latin typeface="gobCL"/>
                <a:cs typeface="Arial"/>
              </a:rPr>
              <a:t>Se dará continuidad a la mesa, la que realizará un seguimiento de la implementación de los plantes vigentes.</a:t>
            </a:r>
          </a:p>
          <a:p>
            <a:pPr marL="177800" indent="-177800" algn="just">
              <a:buFont typeface="Arial" panose="020B0604020202020204" pitchFamily="34" charset="0"/>
              <a:buChar char="•"/>
            </a:pPr>
            <a:r>
              <a:rPr lang="es-ES" sz="1600">
                <a:solidFill>
                  <a:srgbClr val="1F4E79"/>
                </a:solidFill>
                <a:latin typeface="gobCL"/>
                <a:cs typeface="Arial"/>
              </a:rPr>
              <a:t>Se dará inicio al trabajo en un mecanismo de incentivo al retiro permanente focalizado en funcionarios/as de 65 años. Se dará especial seguimiento a postulación especial por una sola vez a personas de 70 años o más, con perspectiva de género. Se evacuará los acuerdos al segundo trimestre de 2024, para proyectar los procesos legislativos necesarios durante el mismo año.</a:t>
            </a:r>
          </a:p>
        </p:txBody>
      </p:sp>
      <p:cxnSp>
        <p:nvCxnSpPr>
          <p:cNvPr id="25" name="Conector recto 24"/>
          <p:cNvCxnSpPr>
            <a:cxnSpLocks/>
          </p:cNvCxnSpPr>
          <p:nvPr/>
        </p:nvCxnSpPr>
        <p:spPr>
          <a:xfrm>
            <a:off x="639319" y="3202328"/>
            <a:ext cx="10257281"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9" name="Pentágono 19">
            <a:extLst>
              <a:ext uri="{FF2B5EF4-FFF2-40B4-BE49-F238E27FC236}">
                <a16:creationId xmlns:a16="http://schemas.microsoft.com/office/drawing/2014/main" id="{DF376DF3-9089-0915-6A81-7AA8FE109462}"/>
              </a:ext>
            </a:extLst>
          </p:cNvPr>
          <p:cNvSpPr/>
          <p:nvPr/>
        </p:nvSpPr>
        <p:spPr>
          <a:xfrm>
            <a:off x="665879" y="3429000"/>
            <a:ext cx="1677642" cy="942520"/>
          </a:xfrm>
          <a:prstGeom prst="homePlate">
            <a:avLst>
              <a:gd name="adj" fmla="val 14184"/>
            </a:avLst>
          </a:prstGeom>
          <a:solidFill>
            <a:srgbClr val="1F4E79"/>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800" b="1">
                <a:effectLst/>
                <a:latin typeface="gobCL" pitchFamily="50" charset="0"/>
                <a:ea typeface="Calibri" panose="020F0502020204030204" pitchFamily="34" charset="0"/>
              </a:rPr>
              <a:t>40 horas</a:t>
            </a:r>
            <a:endParaRPr lang="es-CL" sz="1400" b="1">
              <a:latin typeface="gobCL" pitchFamily="50" charset="0"/>
              <a:cs typeface="Arial" panose="020B0604020202020204" pitchFamily="34" charset="0"/>
            </a:endParaRPr>
          </a:p>
        </p:txBody>
      </p:sp>
      <p:sp>
        <p:nvSpPr>
          <p:cNvPr id="10" name="Rectángulo 9">
            <a:extLst>
              <a:ext uri="{FF2B5EF4-FFF2-40B4-BE49-F238E27FC236}">
                <a16:creationId xmlns:a16="http://schemas.microsoft.com/office/drawing/2014/main" id="{62CE1E3B-F346-8AC2-539B-851BA1B8027A}"/>
              </a:ext>
            </a:extLst>
          </p:cNvPr>
          <p:cNvSpPr/>
          <p:nvPr/>
        </p:nvSpPr>
        <p:spPr>
          <a:xfrm>
            <a:off x="2515936" y="3352587"/>
            <a:ext cx="8482264" cy="1077218"/>
          </a:xfrm>
          <a:prstGeom prst="rect">
            <a:avLst/>
          </a:prstGeom>
        </p:spPr>
        <p:txBody>
          <a:bodyPr wrap="square" lIns="91440" tIns="45720" rIns="91440" bIns="45720" anchor="t">
            <a:spAutoFit/>
          </a:bodyPr>
          <a:lstStyle/>
          <a:p>
            <a:pPr marL="177800" indent="-177800" algn="just">
              <a:buFont typeface="Arial" panose="020B0604020202020204" pitchFamily="34" charset="0"/>
              <a:buChar char="•"/>
              <a:tabLst>
                <a:tab pos="88900" algn="l"/>
              </a:tabLst>
            </a:pPr>
            <a:r>
              <a:rPr lang="es-ES" sz="1600">
                <a:solidFill>
                  <a:srgbClr val="1F4E79"/>
                </a:solidFill>
                <a:latin typeface="gobCL"/>
                <a:cs typeface="Arial"/>
              </a:rPr>
              <a:t>Se dará continuidad a la mesa, con el objetivo general de ingresar uno o más Proyectos de ley para la implementación de la ampliación de la normativa de jornada laboral de 40 horas a trabajadores sujetos a los Estatutos del Empleo Público. El ingreso del primer proyecto de ley se contempla para fines del primer semestre de 2024.</a:t>
            </a:r>
            <a:endParaRPr lang="es-CL" sz="1600">
              <a:solidFill>
                <a:srgbClr val="1F4E79"/>
              </a:solidFill>
              <a:latin typeface="gobCL"/>
              <a:cs typeface="Arial" panose="020B0604020202020204" pitchFamily="34" charset="0"/>
            </a:endParaRPr>
          </a:p>
        </p:txBody>
      </p:sp>
      <p:cxnSp>
        <p:nvCxnSpPr>
          <p:cNvPr id="11" name="Conector recto 10">
            <a:extLst>
              <a:ext uri="{FF2B5EF4-FFF2-40B4-BE49-F238E27FC236}">
                <a16:creationId xmlns:a16="http://schemas.microsoft.com/office/drawing/2014/main" id="{A5EB9FD0-7076-799D-1410-51D9182B9F50}"/>
              </a:ext>
            </a:extLst>
          </p:cNvPr>
          <p:cNvCxnSpPr>
            <a:cxnSpLocks/>
          </p:cNvCxnSpPr>
          <p:nvPr/>
        </p:nvCxnSpPr>
        <p:spPr>
          <a:xfrm>
            <a:off x="702397" y="4580064"/>
            <a:ext cx="10194203"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Pentágono 19">
            <a:extLst>
              <a:ext uri="{FF2B5EF4-FFF2-40B4-BE49-F238E27FC236}">
                <a16:creationId xmlns:a16="http://schemas.microsoft.com/office/drawing/2014/main" id="{64811130-DDD4-D69B-FD26-21D99C299F5C}"/>
              </a:ext>
            </a:extLst>
          </p:cNvPr>
          <p:cNvSpPr/>
          <p:nvPr/>
        </p:nvSpPr>
        <p:spPr>
          <a:xfrm>
            <a:off x="664719" y="4788333"/>
            <a:ext cx="1677642" cy="1358468"/>
          </a:xfrm>
          <a:prstGeom prst="homePlate">
            <a:avLst>
              <a:gd name="adj" fmla="val 14184"/>
            </a:avLst>
          </a:prstGeom>
          <a:solidFill>
            <a:srgbClr val="1F4E79"/>
          </a:solidFill>
          <a:ln>
            <a:solidFill>
              <a:schemeClr val="accent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800" b="1">
                <a:effectLst/>
                <a:latin typeface="gobCL" pitchFamily="50" charset="0"/>
                <a:ea typeface="Calibri" panose="020F0502020204030204" pitchFamily="34" charset="0"/>
              </a:rPr>
              <a:t>Trabajo decente</a:t>
            </a:r>
            <a:endParaRPr lang="es-CL" sz="1400" b="1">
              <a:latin typeface="gobCL" pitchFamily="50" charset="0"/>
              <a:cs typeface="Arial" panose="020B0604020202020204" pitchFamily="34" charset="0"/>
            </a:endParaRPr>
          </a:p>
        </p:txBody>
      </p:sp>
      <p:sp>
        <p:nvSpPr>
          <p:cNvPr id="14" name="Rectángulo 13">
            <a:extLst>
              <a:ext uri="{FF2B5EF4-FFF2-40B4-BE49-F238E27FC236}">
                <a16:creationId xmlns:a16="http://schemas.microsoft.com/office/drawing/2014/main" id="{CE5F27C9-AB1A-6BA8-2C3A-EBF09FA5B280}"/>
              </a:ext>
            </a:extLst>
          </p:cNvPr>
          <p:cNvSpPr/>
          <p:nvPr/>
        </p:nvSpPr>
        <p:spPr>
          <a:xfrm>
            <a:off x="2514599" y="4730321"/>
            <a:ext cx="8496301" cy="1569660"/>
          </a:xfrm>
          <a:prstGeom prst="rect">
            <a:avLst/>
          </a:prstGeom>
        </p:spPr>
        <p:txBody>
          <a:bodyPr wrap="square" lIns="91440" tIns="45720" rIns="91440" bIns="45720" anchor="t">
            <a:spAutoFit/>
          </a:bodyPr>
          <a:lstStyle/>
          <a:p>
            <a:pPr marL="177800" indent="-177800" algn="just">
              <a:buFont typeface="Arial" panose="020B0604020202020204" pitchFamily="34" charset="0"/>
              <a:buChar char="•"/>
            </a:pPr>
            <a:r>
              <a:rPr lang="es-ES" sz="1600">
                <a:solidFill>
                  <a:srgbClr val="1F4E79"/>
                </a:solidFill>
                <a:latin typeface="gobCL"/>
                <a:cs typeface="Arial"/>
              </a:rPr>
              <a:t>Se dará continuidad a la mesa, iniciando un análisis del modelo del empleo público, en temáticas relacionadas con personal a contrata, la carrera funcionaria, regularización de honorarios, personal de confianza política, salud incompatible, mecanismos de egreso y seguro de cesantía.</a:t>
            </a:r>
          </a:p>
          <a:p>
            <a:pPr marL="177800" indent="-177800" algn="just">
              <a:buFont typeface="Arial" panose="020B0604020202020204" pitchFamily="34" charset="0"/>
              <a:buChar char="•"/>
            </a:pPr>
            <a:r>
              <a:rPr lang="es-ES" sz="1600">
                <a:solidFill>
                  <a:srgbClr val="1F4E79"/>
                </a:solidFill>
                <a:latin typeface="gobCL"/>
                <a:cs typeface="Arial"/>
              </a:rPr>
              <a:t>Se abordarán materias como libertad sindical, asociaciones de funcionarios, regularización de honorarios, brechas </a:t>
            </a:r>
            <a:r>
              <a:rPr lang="es-ES" sz="1600" err="1">
                <a:solidFill>
                  <a:srgbClr val="1F4E79"/>
                </a:solidFill>
                <a:latin typeface="gobCL"/>
                <a:cs typeface="Arial"/>
              </a:rPr>
              <a:t>remuneracionales</a:t>
            </a:r>
            <a:r>
              <a:rPr lang="es-ES" sz="1600">
                <a:solidFill>
                  <a:srgbClr val="1F4E79"/>
                </a:solidFill>
                <a:latin typeface="gobCL"/>
                <a:cs typeface="Arial"/>
              </a:rPr>
              <a:t> y se abordará la demanda de acortar brecha de la asignación de modernización de Junji.</a:t>
            </a:r>
          </a:p>
        </p:txBody>
      </p:sp>
      <p:sp>
        <p:nvSpPr>
          <p:cNvPr id="22" name="Elipse 21">
            <a:extLst>
              <a:ext uri="{FF2B5EF4-FFF2-40B4-BE49-F238E27FC236}">
                <a16:creationId xmlns:a16="http://schemas.microsoft.com/office/drawing/2014/main" id="{DA937FED-F1EA-C26E-D913-97368150EECE}"/>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3" name="Marcador de número de diapositiva 2">
            <a:extLst>
              <a:ext uri="{FF2B5EF4-FFF2-40B4-BE49-F238E27FC236}">
                <a16:creationId xmlns:a16="http://schemas.microsoft.com/office/drawing/2014/main" id="{A82ABB9B-0BA8-367F-1EC0-37AEB188A55E}"/>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18</a:t>
            </a:fld>
            <a:endParaRPr lang="en-US" b="1">
              <a:solidFill>
                <a:schemeClr val="bg1"/>
              </a:solidFill>
              <a:latin typeface="Calibri"/>
              <a:ea typeface="ヒラギノ角ゴ Pro W3"/>
              <a:cs typeface="Calibri"/>
            </a:endParaRPr>
          </a:p>
        </p:txBody>
      </p:sp>
    </p:spTree>
    <p:extLst>
      <p:ext uri="{BB962C8B-B14F-4D97-AF65-F5344CB8AC3E}">
        <p14:creationId xmlns:p14="http://schemas.microsoft.com/office/powerpoint/2010/main" val="14010063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7" name="Objeto 6" hidden="1"/>
                      <p:cNvPicPr/>
                      <p:nvPr/>
                    </p:nvPicPr>
                    <p:blipFill>
                      <a:blip r:embed="rId5"/>
                      <a:stretch>
                        <a:fillRect/>
                      </a:stretch>
                    </p:blipFill>
                    <p:spPr>
                      <a:xfrm>
                        <a:off x="1525588" y="1588"/>
                        <a:ext cx="1588" cy="1588"/>
                      </a:xfrm>
                      <a:prstGeom prst="rect">
                        <a:avLst/>
                      </a:prstGeom>
                    </p:spPr>
                  </p:pic>
                </p:oleObj>
              </mc:Fallback>
            </mc:AlternateContent>
          </a:graphicData>
        </a:graphic>
      </p:graphicFrame>
      <p:cxnSp>
        <p:nvCxnSpPr>
          <p:cNvPr id="5" name="Conector recto 4"/>
          <p:cNvCxnSpPr/>
          <p:nvPr/>
        </p:nvCxnSpPr>
        <p:spPr>
          <a:xfrm>
            <a:off x="671390" y="1296206"/>
            <a:ext cx="1472764"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 name="Conector recto 5"/>
          <p:cNvCxnSpPr>
            <a:cxnSpLocks/>
          </p:cNvCxnSpPr>
          <p:nvPr/>
        </p:nvCxnSpPr>
        <p:spPr>
          <a:xfrm>
            <a:off x="3031730" y="1278235"/>
            <a:ext cx="7902970" cy="32349"/>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6" name="Pentágono 15"/>
          <p:cNvSpPr/>
          <p:nvPr/>
        </p:nvSpPr>
        <p:spPr>
          <a:xfrm>
            <a:off x="671350" y="1437922"/>
            <a:ext cx="1688424" cy="631437"/>
          </a:xfrm>
          <a:prstGeom prst="homePlate">
            <a:avLst>
              <a:gd name="adj" fmla="val 14184"/>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b="1">
                <a:latin typeface="gobCL" pitchFamily="50" charset="0"/>
                <a:cs typeface="Arial" panose="020B0604020202020204" pitchFamily="34" charset="0"/>
              </a:rPr>
              <a:t>Teletrabajo</a:t>
            </a:r>
          </a:p>
        </p:txBody>
      </p:sp>
      <p:cxnSp>
        <p:nvCxnSpPr>
          <p:cNvPr id="18" name="Conector recto 17"/>
          <p:cNvCxnSpPr>
            <a:cxnSpLocks/>
          </p:cNvCxnSpPr>
          <p:nvPr/>
        </p:nvCxnSpPr>
        <p:spPr>
          <a:xfrm>
            <a:off x="670049" y="2163501"/>
            <a:ext cx="10264651"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0" name="Pentágono 19"/>
          <p:cNvSpPr/>
          <p:nvPr/>
        </p:nvSpPr>
        <p:spPr>
          <a:xfrm>
            <a:off x="677312" y="2364656"/>
            <a:ext cx="1677642" cy="962744"/>
          </a:xfrm>
          <a:prstGeom prst="homePlate">
            <a:avLst>
              <a:gd name="adj" fmla="val 14184"/>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sz="1800" b="1">
                <a:effectLst/>
                <a:latin typeface="gobCL" pitchFamily="50" charset="0"/>
                <a:ea typeface="Calibri" panose="020F0502020204030204" pitchFamily="34" charset="0"/>
              </a:rPr>
              <a:t>Equidad de género</a:t>
            </a:r>
            <a:endParaRPr lang="es-CL" sz="1400" b="1">
              <a:latin typeface="gobCL" pitchFamily="50" charset="0"/>
              <a:cs typeface="Arial" panose="020B0604020202020204" pitchFamily="34" charset="0"/>
            </a:endParaRPr>
          </a:p>
        </p:txBody>
      </p:sp>
      <p:sp>
        <p:nvSpPr>
          <p:cNvPr id="21" name="Rectángulo 20"/>
          <p:cNvSpPr/>
          <p:nvPr/>
        </p:nvSpPr>
        <p:spPr>
          <a:xfrm>
            <a:off x="2659680" y="3642932"/>
            <a:ext cx="8275020" cy="1323439"/>
          </a:xfrm>
          <a:prstGeom prst="rect">
            <a:avLst/>
          </a:prstGeom>
        </p:spPr>
        <p:txBody>
          <a:bodyPr wrap="square" lIns="91440" tIns="45720" rIns="91440" bIns="45720" anchor="t">
            <a:spAutoFit/>
          </a:bodyPr>
          <a:lstStyle/>
          <a:p>
            <a:pPr marL="177800" indent="-177800" algn="just">
              <a:buFont typeface="Arial" panose="020B0604020202020204" pitchFamily="34" charset="0"/>
              <a:buChar char="•"/>
              <a:tabLst>
                <a:tab pos="177800" algn="l"/>
              </a:tabLst>
            </a:pPr>
            <a:r>
              <a:rPr lang="es-ES" sz="1600">
                <a:solidFill>
                  <a:schemeClr val="accent1">
                    <a:lumMod val="50000"/>
                  </a:schemeClr>
                </a:solidFill>
                <a:latin typeface="gobCL" pitchFamily="50" charset="0"/>
                <a:cs typeface="Arial"/>
              </a:rPr>
              <a:t>Se dará continuidad a la mesa, con el objetivo general de implementar mecanismos y estrategias para la prevención y el manejo oportuno de agresiones físicas y verbales contra personas trabajadoras de servicios e instituciones públicas del país.</a:t>
            </a:r>
          </a:p>
          <a:p>
            <a:pPr marL="177800" indent="-177800" algn="just">
              <a:buFont typeface="Arial" panose="020B0604020202020204" pitchFamily="34" charset="0"/>
              <a:buChar char="•"/>
              <a:tabLst>
                <a:tab pos="177800" algn="l"/>
              </a:tabLst>
            </a:pPr>
            <a:r>
              <a:rPr lang="es-ES" sz="1600">
                <a:solidFill>
                  <a:schemeClr val="accent1">
                    <a:lumMod val="50000"/>
                  </a:schemeClr>
                </a:solidFill>
                <a:latin typeface="gobCL" pitchFamily="50" charset="0"/>
                <a:cs typeface="Arial"/>
              </a:rPr>
              <a:t>Se considera, entre otras medidas, la presentación del estudio de evaluación de la Ley N°21.188, capacitaciones y difusión, y mecanismos de prevención, protección y denuncia.</a:t>
            </a:r>
          </a:p>
        </p:txBody>
      </p:sp>
      <p:sp>
        <p:nvSpPr>
          <p:cNvPr id="23" name="Pentágono 22"/>
          <p:cNvSpPr/>
          <p:nvPr/>
        </p:nvSpPr>
        <p:spPr>
          <a:xfrm>
            <a:off x="666530" y="3695699"/>
            <a:ext cx="1688424" cy="1206501"/>
          </a:xfrm>
          <a:prstGeom prst="homePlate">
            <a:avLst>
              <a:gd name="adj" fmla="val 14184"/>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b="1">
                <a:latin typeface="gobCL" pitchFamily="50" charset="0"/>
                <a:cs typeface="Arial" panose="020B0604020202020204" pitchFamily="34" charset="0"/>
              </a:rPr>
              <a:t>Seguridad funcionaria</a:t>
            </a:r>
            <a:endParaRPr lang="es-CL" sz="1400" b="1">
              <a:latin typeface="gobCL" pitchFamily="50" charset="0"/>
              <a:cs typeface="Arial" panose="020B0604020202020204" pitchFamily="34" charset="0"/>
            </a:endParaRPr>
          </a:p>
        </p:txBody>
      </p:sp>
      <p:sp>
        <p:nvSpPr>
          <p:cNvPr id="24" name="Rectángulo 23"/>
          <p:cNvSpPr/>
          <p:nvPr/>
        </p:nvSpPr>
        <p:spPr>
          <a:xfrm>
            <a:off x="2660961" y="1444655"/>
            <a:ext cx="8273739" cy="584775"/>
          </a:xfrm>
          <a:prstGeom prst="rect">
            <a:avLst/>
          </a:prstGeom>
        </p:spPr>
        <p:txBody>
          <a:bodyPr wrap="square" lIns="91440" tIns="45720" rIns="91440" bIns="45720" anchor="t">
            <a:spAutoFit/>
          </a:bodyPr>
          <a:lstStyle/>
          <a:p>
            <a:pPr marL="177800" indent="-177800" algn="just">
              <a:buFont typeface="Arial" panose="020B0604020202020204" pitchFamily="34" charset="0"/>
              <a:buChar char="•"/>
            </a:pPr>
            <a:r>
              <a:rPr lang="es-ES" sz="1600">
                <a:solidFill>
                  <a:schemeClr val="accent1">
                    <a:lumMod val="50000"/>
                  </a:schemeClr>
                </a:solidFill>
                <a:latin typeface="gobCL" pitchFamily="50" charset="0"/>
                <a:cs typeface="Arial"/>
              </a:rPr>
              <a:t>Se dará continuidad a la mesa, dando seguimiento a la evaluación de la implementación de los pilotos en el Estado. </a:t>
            </a:r>
          </a:p>
        </p:txBody>
      </p:sp>
      <p:cxnSp>
        <p:nvCxnSpPr>
          <p:cNvPr id="25" name="Conector recto 24"/>
          <p:cNvCxnSpPr>
            <a:cxnSpLocks/>
          </p:cNvCxnSpPr>
          <p:nvPr/>
        </p:nvCxnSpPr>
        <p:spPr>
          <a:xfrm>
            <a:off x="679155" y="5100442"/>
            <a:ext cx="10255545"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 name="Rectángulo 1"/>
          <p:cNvSpPr/>
          <p:nvPr/>
        </p:nvSpPr>
        <p:spPr>
          <a:xfrm>
            <a:off x="2655991" y="2297572"/>
            <a:ext cx="8278709" cy="1077218"/>
          </a:xfrm>
          <a:prstGeom prst="rect">
            <a:avLst/>
          </a:prstGeom>
        </p:spPr>
        <p:txBody>
          <a:bodyPr wrap="square" lIns="91440" tIns="45720" rIns="91440" bIns="45720" anchor="t">
            <a:spAutoFit/>
          </a:bodyPr>
          <a:lstStyle/>
          <a:p>
            <a:pPr marL="177800" indent="-177800" algn="just">
              <a:buFont typeface="Arial" panose="020B0604020202020204" pitchFamily="34" charset="0"/>
              <a:buChar char="•"/>
            </a:pPr>
            <a:r>
              <a:rPr lang="es-ES" sz="1600">
                <a:solidFill>
                  <a:schemeClr val="accent1">
                    <a:lumMod val="50000"/>
                  </a:schemeClr>
                </a:solidFill>
                <a:latin typeface="gobCL" pitchFamily="50" charset="0"/>
                <a:cs typeface="Arial"/>
              </a:rPr>
              <a:t>Se actualizará el estudio de brecha salarial de género en el Estado, ampliado al sector descentralizado. Se iniciará la implementación de evaluación de puestos de trabajo con perspectiva de género en la </a:t>
            </a:r>
            <a:r>
              <a:rPr lang="es-ES" sz="1600" err="1">
                <a:solidFill>
                  <a:schemeClr val="accent1">
                    <a:lumMod val="50000"/>
                  </a:schemeClr>
                </a:solidFill>
                <a:latin typeface="gobCL" pitchFamily="50" charset="0"/>
                <a:cs typeface="Arial"/>
              </a:rPr>
              <a:t>Dipres</a:t>
            </a:r>
            <a:r>
              <a:rPr lang="es-ES" sz="1600">
                <a:solidFill>
                  <a:schemeClr val="accent1">
                    <a:lumMod val="50000"/>
                  </a:schemeClr>
                </a:solidFill>
                <a:latin typeface="gobCL" pitchFamily="50" charset="0"/>
                <a:cs typeface="Arial"/>
              </a:rPr>
              <a:t>. Se realizará, en el marco de esta mesa, un seguimiento de las acciones relativas a la implementación del Convenio N°190 de la OIT en el sector público.</a:t>
            </a:r>
            <a:endParaRPr lang="es-CL" sz="1600">
              <a:solidFill>
                <a:schemeClr val="accent1">
                  <a:lumMod val="50000"/>
                </a:schemeClr>
              </a:solidFill>
              <a:latin typeface="gobCL" pitchFamily="50" charset="0"/>
              <a:cs typeface="Arial" panose="020B0604020202020204" pitchFamily="34" charset="0"/>
            </a:endParaRPr>
          </a:p>
        </p:txBody>
      </p:sp>
      <p:sp>
        <p:nvSpPr>
          <p:cNvPr id="8" name="Título 5">
            <a:extLst>
              <a:ext uri="{FF2B5EF4-FFF2-40B4-BE49-F238E27FC236}">
                <a16:creationId xmlns:a16="http://schemas.microsoft.com/office/drawing/2014/main" id="{D199A181-2E3F-3DA3-301D-BE646354ADF9}"/>
              </a:ext>
            </a:extLst>
          </p:cNvPr>
          <p:cNvSpPr txBox="1">
            <a:spLocks/>
          </p:cNvSpPr>
          <p:nvPr/>
        </p:nvSpPr>
        <p:spPr>
          <a:xfrm>
            <a:off x="0" y="414115"/>
            <a:ext cx="9432780" cy="581412"/>
          </a:xfrm>
          <a:prstGeom prst="rect">
            <a:avLst/>
          </a:prstGeom>
          <a:noFill/>
          <a:ln w="9525">
            <a:noFill/>
            <a:miter lim="800000"/>
            <a:headEnd/>
            <a:tailEnd/>
          </a:ln>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535940" algn="l"/>
            <a:r>
              <a:rPr lang="es-ES_tradnl" sz="2800" b="1">
                <a:solidFill>
                  <a:srgbClr val="1F4E79"/>
                </a:solidFill>
                <a:latin typeface="gobCL"/>
                <a:ea typeface="Verdana"/>
                <a:cs typeface="Arial"/>
              </a:rPr>
              <a:t>Agenda  de trabajo 2023 – 2024</a:t>
            </a:r>
          </a:p>
          <a:p>
            <a:pPr marL="535940" algn="l"/>
            <a:r>
              <a:rPr lang="es-ES_tradnl" sz="1600" b="1">
                <a:solidFill>
                  <a:schemeClr val="tx1">
                    <a:lumMod val="50000"/>
                    <a:lumOff val="50000"/>
                  </a:schemeClr>
                </a:solidFill>
                <a:latin typeface="gobCL"/>
                <a:ea typeface="Verdana"/>
                <a:cs typeface="Arial"/>
              </a:rPr>
              <a:t>PRINCIPALES MATERIAS</a:t>
            </a:r>
          </a:p>
        </p:txBody>
      </p:sp>
      <p:cxnSp>
        <p:nvCxnSpPr>
          <p:cNvPr id="11" name="Conector recto 10">
            <a:extLst>
              <a:ext uri="{FF2B5EF4-FFF2-40B4-BE49-F238E27FC236}">
                <a16:creationId xmlns:a16="http://schemas.microsoft.com/office/drawing/2014/main" id="{F7E1CEA2-03FE-D481-5AD2-A79E154D00D1}"/>
              </a:ext>
            </a:extLst>
          </p:cNvPr>
          <p:cNvCxnSpPr>
            <a:cxnSpLocks/>
          </p:cNvCxnSpPr>
          <p:nvPr/>
        </p:nvCxnSpPr>
        <p:spPr>
          <a:xfrm>
            <a:off x="660400" y="3508861"/>
            <a:ext cx="102743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4" name="Pentágono 15">
            <a:extLst>
              <a:ext uri="{FF2B5EF4-FFF2-40B4-BE49-F238E27FC236}">
                <a16:creationId xmlns:a16="http://schemas.microsoft.com/office/drawing/2014/main" id="{9C001E54-D39F-94B7-69EB-F8C24C25922A}"/>
              </a:ext>
            </a:extLst>
          </p:cNvPr>
          <p:cNvSpPr/>
          <p:nvPr/>
        </p:nvSpPr>
        <p:spPr>
          <a:xfrm>
            <a:off x="677312" y="5321300"/>
            <a:ext cx="1688424" cy="880232"/>
          </a:xfrm>
          <a:prstGeom prst="homePlate">
            <a:avLst>
              <a:gd name="adj" fmla="val 14184"/>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b="1">
                <a:latin typeface="gobCL" pitchFamily="50" charset="0"/>
                <a:cs typeface="Arial" panose="020B0604020202020204" pitchFamily="34" charset="0"/>
              </a:rPr>
              <a:t>Salud mental</a:t>
            </a:r>
          </a:p>
        </p:txBody>
      </p:sp>
      <p:sp>
        <p:nvSpPr>
          <p:cNvPr id="9" name="Rectángulo 8">
            <a:extLst>
              <a:ext uri="{FF2B5EF4-FFF2-40B4-BE49-F238E27FC236}">
                <a16:creationId xmlns:a16="http://schemas.microsoft.com/office/drawing/2014/main" id="{93C8290D-4F54-2376-D037-FEB163A3E3C6}"/>
              </a:ext>
            </a:extLst>
          </p:cNvPr>
          <p:cNvSpPr/>
          <p:nvPr/>
        </p:nvSpPr>
        <p:spPr>
          <a:xfrm>
            <a:off x="2660961" y="5234513"/>
            <a:ext cx="8273739" cy="1077218"/>
          </a:xfrm>
          <a:prstGeom prst="rect">
            <a:avLst/>
          </a:prstGeom>
        </p:spPr>
        <p:txBody>
          <a:bodyPr wrap="square" lIns="91440" tIns="45720" rIns="91440" bIns="45720" anchor="t">
            <a:spAutoFit/>
          </a:bodyPr>
          <a:lstStyle/>
          <a:p>
            <a:pPr marL="177800" indent="-177800" algn="just">
              <a:buFont typeface="Arial" panose="020B0604020202020204" pitchFamily="34" charset="0"/>
              <a:buChar char="•"/>
            </a:pPr>
            <a:r>
              <a:rPr lang="es-ES" sz="1600">
                <a:solidFill>
                  <a:schemeClr val="accent1">
                    <a:lumMod val="50000"/>
                  </a:schemeClr>
                </a:solidFill>
                <a:latin typeface="gobCL" pitchFamily="50" charset="0"/>
                <a:cs typeface="Arial"/>
              </a:rPr>
              <a:t>Proyectar las acciones que permitan la formalización de la Norma de la gestión de la Salud Mental en el trabajo del Sector Público y el inicio del seguimiento de su implementación gradual, considerando el trabajo intersectorial necesario y las reflexiones, discusiones y aportes que surjan a partir del trabajo de esta mesa.</a:t>
            </a:r>
          </a:p>
        </p:txBody>
      </p:sp>
      <p:cxnSp>
        <p:nvCxnSpPr>
          <p:cNvPr id="10" name="Conector recto 9">
            <a:extLst>
              <a:ext uri="{FF2B5EF4-FFF2-40B4-BE49-F238E27FC236}">
                <a16:creationId xmlns:a16="http://schemas.microsoft.com/office/drawing/2014/main" id="{41FDD716-198E-8E83-3717-F1BD428F9E66}"/>
              </a:ext>
            </a:extLst>
          </p:cNvPr>
          <p:cNvCxnSpPr>
            <a:cxnSpLocks/>
          </p:cNvCxnSpPr>
          <p:nvPr/>
        </p:nvCxnSpPr>
        <p:spPr>
          <a:xfrm>
            <a:off x="673100" y="6280705"/>
            <a:ext cx="10261600"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7" name="Elipse 26">
            <a:extLst>
              <a:ext uri="{FF2B5EF4-FFF2-40B4-BE49-F238E27FC236}">
                <a16:creationId xmlns:a16="http://schemas.microsoft.com/office/drawing/2014/main" id="{73591906-DB92-BFC6-7F5C-DC7B9C7929C9}"/>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8" name="Marcador de número de diapositiva 2">
            <a:extLst>
              <a:ext uri="{FF2B5EF4-FFF2-40B4-BE49-F238E27FC236}">
                <a16:creationId xmlns:a16="http://schemas.microsoft.com/office/drawing/2014/main" id="{46E9702B-21CF-E191-8A2B-405699E783AD}"/>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19</a:t>
            </a:fld>
            <a:endParaRPr lang="en-US" b="1">
              <a:solidFill>
                <a:schemeClr val="bg1"/>
              </a:solidFill>
              <a:latin typeface="Calibri"/>
              <a:ea typeface="ヒラギノ角ゴ Pro W3"/>
              <a:cs typeface="Calibri"/>
            </a:endParaRPr>
          </a:p>
        </p:txBody>
      </p:sp>
    </p:spTree>
    <p:extLst>
      <p:ext uri="{BB962C8B-B14F-4D97-AF65-F5344CB8AC3E}">
        <p14:creationId xmlns:p14="http://schemas.microsoft.com/office/powerpoint/2010/main" val="41130152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hape 460"/>
          <p:cNvSpPr/>
          <p:nvPr/>
        </p:nvSpPr>
        <p:spPr>
          <a:xfrm>
            <a:off x="548080" y="377146"/>
            <a:ext cx="2731922" cy="710270"/>
          </a:xfrm>
          <a:prstGeom prst="rect">
            <a:avLst/>
          </a:prstGeom>
          <a:extLst>
            <a:ext uri="{C572A759-6A51-4108-AA02-DFA0A04FC94B}">
              <ma14:wrappingTextBoxFlag xmlns:ma14="http://schemas.microsoft.com/office/mac/drawingml/2011/main" xmlns="" val="1"/>
            </a:ext>
          </a:extLst>
        </p:spPr>
        <p:txBody>
          <a:bodyPr vert="horz" lIns="91440" tIns="45720" rIns="91440" bIns="45720" rtlCol="0" anchor="t">
            <a:noAutofit/>
          </a:bodyPr>
          <a:lstStyle/>
          <a:p>
            <a:pPr>
              <a:lnSpc>
                <a:spcPct val="90000"/>
              </a:lnSpc>
              <a:spcBef>
                <a:spcPts val="1000"/>
              </a:spcBef>
            </a:pPr>
            <a:r>
              <a:rPr lang="es-CL" sz="2800" b="1">
                <a:solidFill>
                  <a:srgbClr val="1F4E79"/>
                </a:solidFill>
                <a:latin typeface="gobCL"/>
                <a:sym typeface="MyriadPro-SemiboldSemiCn"/>
              </a:rPr>
              <a:t>Agenda</a:t>
            </a:r>
            <a:endParaRPr sz="2800" b="1">
              <a:solidFill>
                <a:srgbClr val="1F4E79"/>
              </a:solidFill>
              <a:latin typeface="gobCL"/>
              <a:sym typeface="MyriadPro-SemiboldSemiCn"/>
            </a:endParaRPr>
          </a:p>
        </p:txBody>
      </p:sp>
      <p:sp>
        <p:nvSpPr>
          <p:cNvPr id="11" name="3 Rectángulo">
            <a:extLst>
              <a:ext uri="{FF2B5EF4-FFF2-40B4-BE49-F238E27FC236}">
                <a16:creationId xmlns:a16="http://schemas.microsoft.com/office/drawing/2014/main" id="{D8D8B5A9-0857-7A27-842A-7863F96B970B}"/>
              </a:ext>
            </a:extLst>
          </p:cNvPr>
          <p:cNvSpPr/>
          <p:nvPr/>
        </p:nvSpPr>
        <p:spPr>
          <a:xfrm>
            <a:off x="634158" y="2895767"/>
            <a:ext cx="10299731" cy="521882"/>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Verdana" panose="020B0604030504040204" pitchFamily="34" charset="0"/>
              <a:ea typeface="Verdana" panose="020B0604030504040204" pitchFamily="34" charset="0"/>
            </a:endParaRPr>
          </a:p>
        </p:txBody>
      </p:sp>
      <p:sp>
        <p:nvSpPr>
          <p:cNvPr id="13" name="1 Rectángulo">
            <a:extLst>
              <a:ext uri="{FF2B5EF4-FFF2-40B4-BE49-F238E27FC236}">
                <a16:creationId xmlns:a16="http://schemas.microsoft.com/office/drawing/2014/main" id="{80B1E790-6901-F3C5-5564-43EB16559871}"/>
              </a:ext>
            </a:extLst>
          </p:cNvPr>
          <p:cNvSpPr/>
          <p:nvPr/>
        </p:nvSpPr>
        <p:spPr>
          <a:xfrm>
            <a:off x="533286" y="2930621"/>
            <a:ext cx="9826671" cy="3416320"/>
          </a:xfrm>
          <a:prstGeom prst="rect">
            <a:avLst/>
          </a:prstGeom>
        </p:spPr>
        <p:txBody>
          <a:bodyPr wrap="square" lIns="91440" tIns="45720" rIns="91440" bIns="45720" anchor="t">
            <a:spAutoFit/>
          </a:bodyPr>
          <a:lstStyle/>
          <a:p>
            <a:pPr marL="457200" indent="-342900">
              <a:buAutoNum type="arabicPeriod"/>
            </a:pPr>
            <a:r>
              <a:rPr lang="es-ES" sz="2400" dirty="0">
                <a:solidFill>
                  <a:schemeClr val="bg1"/>
                </a:solidFill>
                <a:latin typeface="gobCL"/>
                <a:ea typeface="Verdana"/>
                <a:cs typeface="Arial"/>
              </a:rPr>
              <a:t>Antecedentes de contexto</a:t>
            </a:r>
          </a:p>
          <a:p>
            <a:pPr marL="114300"/>
            <a:r>
              <a:rPr lang="es-ES" sz="2400" dirty="0">
                <a:solidFill>
                  <a:schemeClr val="accent1">
                    <a:lumMod val="50000"/>
                  </a:schemeClr>
                </a:solidFill>
                <a:latin typeface="gobCL"/>
                <a:ea typeface="Verdana"/>
                <a:cs typeface="Arial"/>
              </a:rPr>
              <a:t> </a:t>
            </a:r>
            <a:endParaRPr lang="es-ES" sz="2400" dirty="0">
              <a:solidFill>
                <a:srgbClr val="000000"/>
              </a:solidFill>
              <a:latin typeface="gobCL"/>
              <a:ea typeface="Verdana"/>
              <a:cs typeface="Arial"/>
            </a:endParaRPr>
          </a:p>
          <a:p>
            <a:pPr marL="114300"/>
            <a:r>
              <a:rPr lang="es-CL" sz="2400" dirty="0">
                <a:solidFill>
                  <a:srgbClr val="1F4E79"/>
                </a:solidFill>
                <a:latin typeface="gobCL"/>
                <a:ea typeface="Verdana"/>
                <a:cs typeface="Arial"/>
              </a:rPr>
              <a:t>2. Protocolo de Acuerdo del Reajuste General del Sector Público</a:t>
            </a:r>
          </a:p>
          <a:p>
            <a:pPr marL="114300"/>
            <a:endParaRPr lang="es-CL" sz="2400" dirty="0">
              <a:solidFill>
                <a:srgbClr val="1F4E79"/>
              </a:solidFill>
              <a:latin typeface="gobCL"/>
              <a:ea typeface="Verdana"/>
              <a:cs typeface="Arial"/>
            </a:endParaRPr>
          </a:p>
          <a:p>
            <a:pPr marL="114300"/>
            <a:r>
              <a:rPr lang="es-CL" sz="2400" dirty="0">
                <a:solidFill>
                  <a:srgbClr val="1F4E79"/>
                </a:solidFill>
                <a:latin typeface="gobCL"/>
                <a:ea typeface="Verdana"/>
                <a:cs typeface="Arial"/>
              </a:rPr>
              <a:t>3. Agenda de trabajo 2023 – 2024</a:t>
            </a:r>
          </a:p>
          <a:p>
            <a:pPr marL="114300"/>
            <a:endParaRPr lang="es-CL" sz="2400" dirty="0">
              <a:solidFill>
                <a:srgbClr val="1F4E79"/>
              </a:solidFill>
              <a:latin typeface="gobCL"/>
              <a:ea typeface="Verdana"/>
              <a:cs typeface="Arial"/>
            </a:endParaRPr>
          </a:p>
          <a:p>
            <a:pPr marL="114300"/>
            <a:r>
              <a:rPr lang="es-CL" sz="2400" dirty="0">
                <a:solidFill>
                  <a:srgbClr val="1F4E79"/>
                </a:solidFill>
                <a:latin typeface="gobCL"/>
                <a:ea typeface="Verdana"/>
                <a:cs typeface="Arial"/>
              </a:rPr>
              <a:t>4. Otros contenidos del proyecto de ley</a:t>
            </a:r>
          </a:p>
          <a:p>
            <a:pPr marL="114300"/>
            <a:endParaRPr lang="es-CL" sz="2400" dirty="0">
              <a:solidFill>
                <a:srgbClr val="1F4E79"/>
              </a:solidFill>
              <a:latin typeface="gobCL"/>
              <a:ea typeface="Verdana"/>
              <a:cs typeface="Arial"/>
            </a:endParaRPr>
          </a:p>
          <a:p>
            <a:pPr marL="114300"/>
            <a:r>
              <a:rPr lang="es-CL" sz="2400" dirty="0">
                <a:solidFill>
                  <a:srgbClr val="1F4E79"/>
                </a:solidFill>
                <a:latin typeface="gobCL"/>
                <a:ea typeface="Verdana"/>
                <a:cs typeface="Arial"/>
              </a:rPr>
              <a:t>5. Informe Financiero</a:t>
            </a:r>
            <a:endParaRPr lang="es-CL" sz="2400" dirty="0">
              <a:solidFill>
                <a:srgbClr val="1F4E79"/>
              </a:solidFill>
              <a:latin typeface="gobCL"/>
              <a:ea typeface="Verdana" panose="020B0604030504040204" pitchFamily="34" charset="0"/>
              <a:cs typeface="Arial" panose="020B0604020202020204" pitchFamily="34" charset="0"/>
            </a:endParaRPr>
          </a:p>
        </p:txBody>
      </p:sp>
    </p:spTree>
    <p:extLst>
      <p:ext uri="{BB962C8B-B14F-4D97-AF65-F5344CB8AC3E}">
        <p14:creationId xmlns:p14="http://schemas.microsoft.com/office/powerpoint/2010/main" val="14079152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270" imgH="270" progId="TCLayout.ActiveDocument.1">
                  <p:embed/>
                </p:oleObj>
              </mc:Choice>
              <mc:Fallback>
                <p:oleObj name="Diapositiva de think-cell" r:id="rId3" imgW="270" imgH="270" progId="TCLayout.ActiveDocument.1">
                  <p:embed/>
                  <p:pic>
                    <p:nvPicPr>
                      <p:cNvPr id="7" name="Objeto 6" hidden="1"/>
                      <p:cNvPicPr/>
                      <p:nvPr/>
                    </p:nvPicPr>
                    <p:blipFill>
                      <a:blip r:embed="rId4"/>
                      <a:stretch>
                        <a:fillRect/>
                      </a:stretch>
                    </p:blipFill>
                    <p:spPr>
                      <a:xfrm>
                        <a:off x="1525588" y="1588"/>
                        <a:ext cx="1588" cy="1588"/>
                      </a:xfrm>
                      <a:prstGeom prst="rect">
                        <a:avLst/>
                      </a:prstGeom>
                    </p:spPr>
                  </p:pic>
                </p:oleObj>
              </mc:Fallback>
            </mc:AlternateContent>
          </a:graphicData>
        </a:graphic>
      </p:graphicFrame>
      <p:cxnSp>
        <p:nvCxnSpPr>
          <p:cNvPr id="5" name="Conector recto 4"/>
          <p:cNvCxnSpPr>
            <a:cxnSpLocks/>
          </p:cNvCxnSpPr>
          <p:nvPr/>
        </p:nvCxnSpPr>
        <p:spPr>
          <a:xfrm>
            <a:off x="671390" y="1296206"/>
            <a:ext cx="1982910"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 name="Conector recto 5"/>
          <p:cNvCxnSpPr>
            <a:cxnSpLocks/>
          </p:cNvCxnSpPr>
          <p:nvPr/>
        </p:nvCxnSpPr>
        <p:spPr>
          <a:xfrm>
            <a:off x="2993900" y="1278235"/>
            <a:ext cx="7902970" cy="32349"/>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6" name="Pentágono 15"/>
          <p:cNvSpPr/>
          <p:nvPr/>
        </p:nvSpPr>
        <p:spPr>
          <a:xfrm>
            <a:off x="671350" y="1437923"/>
            <a:ext cx="1995650" cy="543278"/>
          </a:xfrm>
          <a:prstGeom prst="homePlate">
            <a:avLst>
              <a:gd name="adj" fmla="val 14184"/>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b="1">
                <a:latin typeface="gobCL" pitchFamily="50" charset="0"/>
                <a:cs typeface="Arial" panose="020B0604020202020204" pitchFamily="34" charset="0"/>
              </a:rPr>
              <a:t>Cuidado infantil</a:t>
            </a:r>
          </a:p>
        </p:txBody>
      </p:sp>
      <p:cxnSp>
        <p:nvCxnSpPr>
          <p:cNvPr id="18" name="Conector recto 17"/>
          <p:cNvCxnSpPr>
            <a:cxnSpLocks/>
          </p:cNvCxnSpPr>
          <p:nvPr/>
        </p:nvCxnSpPr>
        <p:spPr>
          <a:xfrm>
            <a:off x="674984" y="2231983"/>
            <a:ext cx="10234316"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4" name="Rectángulo 23"/>
          <p:cNvSpPr/>
          <p:nvPr/>
        </p:nvSpPr>
        <p:spPr>
          <a:xfrm>
            <a:off x="2949725" y="1478896"/>
            <a:ext cx="7947145" cy="584775"/>
          </a:xfrm>
          <a:prstGeom prst="rect">
            <a:avLst/>
          </a:prstGeom>
        </p:spPr>
        <p:txBody>
          <a:bodyPr wrap="square" lIns="91440" tIns="45720" rIns="91440" bIns="45720" anchor="t">
            <a:spAutoFit/>
          </a:bodyPr>
          <a:lstStyle/>
          <a:p>
            <a:pPr marL="285750" indent="-285750" algn="just">
              <a:buFont typeface="Arial" panose="020B0604020202020204" pitchFamily="34" charset="0"/>
              <a:buChar char="•"/>
            </a:pPr>
            <a:r>
              <a:rPr lang="es-ES" sz="1600">
                <a:solidFill>
                  <a:schemeClr val="accent1">
                    <a:lumMod val="50000"/>
                  </a:schemeClr>
                </a:solidFill>
                <a:latin typeface="gobCL" pitchFamily="50" charset="0"/>
                <a:cs typeface="Arial"/>
              </a:rPr>
              <a:t>Se abordarán temáticas como ampliación de cobertura de cuidado infantil, cupos en jardines infantiles y provisión ampliada en los Servicios de Salud.</a:t>
            </a:r>
          </a:p>
        </p:txBody>
      </p:sp>
      <p:sp>
        <p:nvSpPr>
          <p:cNvPr id="8" name="Título 5">
            <a:extLst>
              <a:ext uri="{FF2B5EF4-FFF2-40B4-BE49-F238E27FC236}">
                <a16:creationId xmlns:a16="http://schemas.microsoft.com/office/drawing/2014/main" id="{D199A181-2E3F-3DA3-301D-BE646354ADF9}"/>
              </a:ext>
            </a:extLst>
          </p:cNvPr>
          <p:cNvSpPr txBox="1">
            <a:spLocks/>
          </p:cNvSpPr>
          <p:nvPr/>
        </p:nvSpPr>
        <p:spPr>
          <a:xfrm>
            <a:off x="0" y="414115"/>
            <a:ext cx="9432780" cy="581412"/>
          </a:xfrm>
          <a:prstGeom prst="rect">
            <a:avLst/>
          </a:prstGeom>
          <a:noFill/>
          <a:ln w="9525">
            <a:noFill/>
            <a:miter lim="800000"/>
            <a:headEnd/>
            <a:tailEnd/>
          </a:ln>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535940" algn="l"/>
            <a:r>
              <a:rPr lang="es-ES_tradnl" sz="2800" b="1">
                <a:solidFill>
                  <a:srgbClr val="1F4E79"/>
                </a:solidFill>
                <a:latin typeface="gobCL"/>
                <a:ea typeface="Verdana"/>
                <a:cs typeface="Arial"/>
              </a:rPr>
              <a:t>Agenda  de trabajo 2023 – 2024</a:t>
            </a:r>
          </a:p>
          <a:p>
            <a:pPr marL="535940" algn="l"/>
            <a:r>
              <a:rPr lang="es-ES_tradnl" sz="1600" b="1">
                <a:solidFill>
                  <a:schemeClr val="tx1">
                    <a:lumMod val="50000"/>
                    <a:lumOff val="50000"/>
                  </a:schemeClr>
                </a:solidFill>
                <a:latin typeface="gobCL"/>
                <a:ea typeface="Verdana"/>
                <a:cs typeface="Arial"/>
              </a:rPr>
              <a:t>PRINCIPALES MATERIAS</a:t>
            </a:r>
          </a:p>
        </p:txBody>
      </p:sp>
      <p:sp>
        <p:nvSpPr>
          <p:cNvPr id="13" name="Pentágono 15">
            <a:extLst>
              <a:ext uri="{FF2B5EF4-FFF2-40B4-BE49-F238E27FC236}">
                <a16:creationId xmlns:a16="http://schemas.microsoft.com/office/drawing/2014/main" id="{F923AD76-AEA7-9D2A-6A6A-A70D8378176E}"/>
              </a:ext>
            </a:extLst>
          </p:cNvPr>
          <p:cNvSpPr/>
          <p:nvPr/>
        </p:nvSpPr>
        <p:spPr>
          <a:xfrm>
            <a:off x="671350" y="2362867"/>
            <a:ext cx="2021050" cy="443834"/>
          </a:xfrm>
          <a:prstGeom prst="homePlate">
            <a:avLst>
              <a:gd name="adj" fmla="val 14184"/>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b="1">
                <a:latin typeface="gobCL" pitchFamily="50" charset="0"/>
                <a:cs typeface="Arial" panose="020B0604020202020204" pitchFamily="34" charset="0"/>
              </a:rPr>
              <a:t>Contratas</a:t>
            </a:r>
          </a:p>
        </p:txBody>
      </p:sp>
      <p:sp>
        <p:nvSpPr>
          <p:cNvPr id="14" name="Rectángulo 13">
            <a:extLst>
              <a:ext uri="{FF2B5EF4-FFF2-40B4-BE49-F238E27FC236}">
                <a16:creationId xmlns:a16="http://schemas.microsoft.com/office/drawing/2014/main" id="{CD9DF521-4C22-F389-FDC6-A70B2EE6BE4C}"/>
              </a:ext>
            </a:extLst>
          </p:cNvPr>
          <p:cNvSpPr/>
          <p:nvPr/>
        </p:nvSpPr>
        <p:spPr>
          <a:xfrm>
            <a:off x="2949725" y="2403889"/>
            <a:ext cx="7947145" cy="338554"/>
          </a:xfrm>
          <a:prstGeom prst="rect">
            <a:avLst/>
          </a:prstGeom>
        </p:spPr>
        <p:txBody>
          <a:bodyPr wrap="square" lIns="91440" tIns="45720" rIns="91440" bIns="45720" anchor="t">
            <a:spAutoFit/>
          </a:bodyPr>
          <a:lstStyle/>
          <a:p>
            <a:pPr marL="285750" indent="-285750" algn="just">
              <a:buFont typeface="Arial" panose="020B0604020202020204" pitchFamily="34" charset="0"/>
              <a:buChar char="•"/>
            </a:pPr>
            <a:r>
              <a:rPr lang="es-ES" sz="1600">
                <a:solidFill>
                  <a:schemeClr val="accent1">
                    <a:lumMod val="50000"/>
                  </a:schemeClr>
                </a:solidFill>
                <a:latin typeface="gobCL" pitchFamily="50" charset="0"/>
                <a:cs typeface="Arial"/>
              </a:rPr>
              <a:t>Se revisará el cumplimiento de la circular sobre renovación del personal a contrata.</a:t>
            </a:r>
          </a:p>
        </p:txBody>
      </p:sp>
      <p:cxnSp>
        <p:nvCxnSpPr>
          <p:cNvPr id="15" name="Conector recto 14">
            <a:extLst>
              <a:ext uri="{FF2B5EF4-FFF2-40B4-BE49-F238E27FC236}">
                <a16:creationId xmlns:a16="http://schemas.microsoft.com/office/drawing/2014/main" id="{FF0F5008-C92F-189D-A2BA-896BFFAE9C8D}"/>
              </a:ext>
            </a:extLst>
          </p:cNvPr>
          <p:cNvCxnSpPr>
            <a:cxnSpLocks/>
          </p:cNvCxnSpPr>
          <p:nvPr/>
        </p:nvCxnSpPr>
        <p:spPr>
          <a:xfrm>
            <a:off x="700773" y="2910755"/>
            <a:ext cx="10221227"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7" name="Pentágono 15">
            <a:extLst>
              <a:ext uri="{FF2B5EF4-FFF2-40B4-BE49-F238E27FC236}">
                <a16:creationId xmlns:a16="http://schemas.microsoft.com/office/drawing/2014/main" id="{C9B1621E-A6D7-1B03-B18B-7F1E7C7F4F85}"/>
              </a:ext>
            </a:extLst>
          </p:cNvPr>
          <p:cNvSpPr/>
          <p:nvPr/>
        </p:nvSpPr>
        <p:spPr>
          <a:xfrm>
            <a:off x="697138" y="3044580"/>
            <a:ext cx="2020661" cy="641840"/>
          </a:xfrm>
          <a:prstGeom prst="homePlate">
            <a:avLst>
              <a:gd name="adj" fmla="val 14184"/>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b="1">
                <a:latin typeface="gobCL" pitchFamily="50" charset="0"/>
                <a:cs typeface="Arial" panose="020B0604020202020204" pitchFamily="34" charset="0"/>
              </a:rPr>
              <a:t>Mesas sectoriales de salud</a:t>
            </a:r>
          </a:p>
        </p:txBody>
      </p:sp>
      <p:sp>
        <p:nvSpPr>
          <p:cNvPr id="19" name="Rectángulo 18">
            <a:extLst>
              <a:ext uri="{FF2B5EF4-FFF2-40B4-BE49-F238E27FC236}">
                <a16:creationId xmlns:a16="http://schemas.microsoft.com/office/drawing/2014/main" id="{84B2ED00-AB45-E7E0-F11C-E09CB54F3C53}"/>
              </a:ext>
            </a:extLst>
          </p:cNvPr>
          <p:cNvSpPr/>
          <p:nvPr/>
        </p:nvSpPr>
        <p:spPr>
          <a:xfrm>
            <a:off x="2949725" y="3082661"/>
            <a:ext cx="7947145" cy="584775"/>
          </a:xfrm>
          <a:prstGeom prst="rect">
            <a:avLst/>
          </a:prstGeom>
        </p:spPr>
        <p:txBody>
          <a:bodyPr wrap="square" lIns="91440" tIns="45720" rIns="91440" bIns="45720" anchor="t">
            <a:spAutoFit/>
          </a:bodyPr>
          <a:lstStyle/>
          <a:p>
            <a:pPr marL="285750" indent="-285750" algn="just">
              <a:buFont typeface="Arial" panose="020B0604020202020204" pitchFamily="34" charset="0"/>
              <a:buChar char="•"/>
            </a:pPr>
            <a:r>
              <a:rPr lang="es-ES" sz="1600">
                <a:solidFill>
                  <a:schemeClr val="accent1">
                    <a:lumMod val="50000"/>
                  </a:schemeClr>
                </a:solidFill>
                <a:latin typeface="gobCL" pitchFamily="50" charset="0"/>
                <a:cs typeface="Arial"/>
              </a:rPr>
              <a:t>Se analizará la provisión del derecho de alimentación en los Servicios de Salud, evaluación del Bono Trato Usuario y plantas del ISP, entre otras materias.</a:t>
            </a:r>
          </a:p>
        </p:txBody>
      </p:sp>
      <p:cxnSp>
        <p:nvCxnSpPr>
          <p:cNvPr id="22" name="Conector recto 21">
            <a:extLst>
              <a:ext uri="{FF2B5EF4-FFF2-40B4-BE49-F238E27FC236}">
                <a16:creationId xmlns:a16="http://schemas.microsoft.com/office/drawing/2014/main" id="{C31B5ED3-2378-972F-6BE5-48E62CEF50EA}"/>
              </a:ext>
            </a:extLst>
          </p:cNvPr>
          <p:cNvCxnSpPr>
            <a:cxnSpLocks/>
          </p:cNvCxnSpPr>
          <p:nvPr/>
        </p:nvCxnSpPr>
        <p:spPr>
          <a:xfrm>
            <a:off x="708361" y="3835748"/>
            <a:ext cx="10200939"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6" name="Pentágono 15">
            <a:extLst>
              <a:ext uri="{FF2B5EF4-FFF2-40B4-BE49-F238E27FC236}">
                <a16:creationId xmlns:a16="http://schemas.microsoft.com/office/drawing/2014/main" id="{8E4B3BA5-B165-423F-ACD8-AC67B4112D44}"/>
              </a:ext>
            </a:extLst>
          </p:cNvPr>
          <p:cNvSpPr/>
          <p:nvPr/>
        </p:nvSpPr>
        <p:spPr>
          <a:xfrm>
            <a:off x="697138" y="4075735"/>
            <a:ext cx="1969862" cy="915365"/>
          </a:xfrm>
          <a:prstGeom prst="homePlate">
            <a:avLst>
              <a:gd name="adj" fmla="val 14184"/>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b="1">
                <a:latin typeface="gobCL" pitchFamily="50" charset="0"/>
                <a:cs typeface="Arial" panose="020B0604020202020204" pitchFamily="34" charset="0"/>
              </a:rPr>
              <a:t>CONFEMUCH</a:t>
            </a:r>
          </a:p>
        </p:txBody>
      </p:sp>
      <p:sp>
        <p:nvSpPr>
          <p:cNvPr id="27" name="Rectángulo 26">
            <a:extLst>
              <a:ext uri="{FF2B5EF4-FFF2-40B4-BE49-F238E27FC236}">
                <a16:creationId xmlns:a16="http://schemas.microsoft.com/office/drawing/2014/main" id="{05ACB083-D5E1-0AAA-E07F-EB289EFF7AEE}"/>
              </a:ext>
            </a:extLst>
          </p:cNvPr>
          <p:cNvSpPr/>
          <p:nvPr/>
        </p:nvSpPr>
        <p:spPr>
          <a:xfrm>
            <a:off x="2949725" y="4007654"/>
            <a:ext cx="7947145" cy="1077218"/>
          </a:xfrm>
          <a:prstGeom prst="rect">
            <a:avLst/>
          </a:prstGeom>
        </p:spPr>
        <p:txBody>
          <a:bodyPr wrap="square" lIns="91440" tIns="45720" rIns="91440" bIns="45720" anchor="t">
            <a:spAutoFit/>
          </a:bodyPr>
          <a:lstStyle/>
          <a:p>
            <a:pPr marL="285750" indent="-285750" algn="just">
              <a:buFont typeface="Arial" panose="020B0604020202020204" pitchFamily="34" charset="0"/>
              <a:buChar char="•"/>
            </a:pPr>
            <a:r>
              <a:rPr lang="es-ES" sz="1600">
                <a:solidFill>
                  <a:schemeClr val="accent1">
                    <a:lumMod val="50000"/>
                  </a:schemeClr>
                </a:solidFill>
                <a:latin typeface="gobCL" pitchFamily="50" charset="0"/>
                <a:cs typeface="Arial"/>
              </a:rPr>
              <a:t>Se dará continuidad a la mesa, evaluando los efectos de las modificaciones al calendario de traspaso a los Servicios Locales de Educación. Asimismo, se continuará el trabajo relacionado con la Asignación de Zona, y la extensión de los servicios de Bienestar a los Asistentes de la Educación.</a:t>
            </a:r>
          </a:p>
        </p:txBody>
      </p:sp>
      <p:cxnSp>
        <p:nvCxnSpPr>
          <p:cNvPr id="28" name="Conector recto 27">
            <a:extLst>
              <a:ext uri="{FF2B5EF4-FFF2-40B4-BE49-F238E27FC236}">
                <a16:creationId xmlns:a16="http://schemas.microsoft.com/office/drawing/2014/main" id="{4262E8CA-8623-25E2-E2A6-6BFD8B6392A0}"/>
              </a:ext>
            </a:extLst>
          </p:cNvPr>
          <p:cNvCxnSpPr>
            <a:cxnSpLocks/>
          </p:cNvCxnSpPr>
          <p:nvPr/>
        </p:nvCxnSpPr>
        <p:spPr>
          <a:xfrm>
            <a:off x="697138" y="5253184"/>
            <a:ext cx="10212162"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Pentágono 15">
            <a:extLst>
              <a:ext uri="{FF2B5EF4-FFF2-40B4-BE49-F238E27FC236}">
                <a16:creationId xmlns:a16="http://schemas.microsoft.com/office/drawing/2014/main" id="{7DC93321-C461-9B1A-1C4B-25996F34EAE7}"/>
              </a:ext>
            </a:extLst>
          </p:cNvPr>
          <p:cNvSpPr/>
          <p:nvPr/>
        </p:nvSpPr>
        <p:spPr>
          <a:xfrm>
            <a:off x="708361" y="5475888"/>
            <a:ext cx="1836511" cy="734412"/>
          </a:xfrm>
          <a:prstGeom prst="homePlate">
            <a:avLst>
              <a:gd name="adj" fmla="val 14184"/>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ES" b="1">
                <a:latin typeface="gobCL" pitchFamily="50" charset="0"/>
                <a:cs typeface="Arial" panose="020B0604020202020204" pitchFamily="34" charset="0"/>
              </a:rPr>
              <a:t>U</a:t>
            </a:r>
            <a:r>
              <a:rPr lang="es-CL" b="1" err="1">
                <a:latin typeface="gobCL" pitchFamily="50" charset="0"/>
                <a:cs typeface="Arial" panose="020B0604020202020204" pitchFamily="34" charset="0"/>
              </a:rPr>
              <a:t>niversidades</a:t>
            </a:r>
            <a:r>
              <a:rPr lang="es-CL" b="1">
                <a:latin typeface="gobCL" pitchFamily="50" charset="0"/>
                <a:cs typeface="Arial" panose="020B0604020202020204" pitchFamily="34" charset="0"/>
              </a:rPr>
              <a:t> Estatales</a:t>
            </a:r>
          </a:p>
        </p:txBody>
      </p:sp>
      <p:sp>
        <p:nvSpPr>
          <p:cNvPr id="30" name="Rectángulo 29">
            <a:extLst>
              <a:ext uri="{FF2B5EF4-FFF2-40B4-BE49-F238E27FC236}">
                <a16:creationId xmlns:a16="http://schemas.microsoft.com/office/drawing/2014/main" id="{0E1BC0FB-6523-AE0A-2F49-2A8A0B34CAE8}"/>
              </a:ext>
            </a:extLst>
          </p:cNvPr>
          <p:cNvSpPr/>
          <p:nvPr/>
        </p:nvSpPr>
        <p:spPr>
          <a:xfrm>
            <a:off x="2949725" y="5425088"/>
            <a:ext cx="7947145" cy="830997"/>
          </a:xfrm>
          <a:prstGeom prst="rect">
            <a:avLst/>
          </a:prstGeom>
        </p:spPr>
        <p:txBody>
          <a:bodyPr wrap="square" lIns="91440" tIns="45720" rIns="91440" bIns="45720" anchor="t">
            <a:spAutoFit/>
          </a:bodyPr>
          <a:lstStyle/>
          <a:p>
            <a:pPr marL="285750" indent="-285750" algn="just">
              <a:buFont typeface="Arial" panose="020B0604020202020204" pitchFamily="34" charset="0"/>
              <a:buChar char="•"/>
            </a:pPr>
            <a:r>
              <a:rPr lang="es-ES" sz="1600">
                <a:solidFill>
                  <a:srgbClr val="1F4E79"/>
                </a:solidFill>
                <a:latin typeface="gobCL" pitchFamily="50" charset="0"/>
                <a:cs typeface="Arial"/>
              </a:rPr>
              <a:t>Se dará continuidad a la mesa, con el seguimiento de la regularización de honorarios, seguimiento de incentivo al retiro y jornada laboral; además de dar continuidad al debate de reajuste del sector público.</a:t>
            </a:r>
          </a:p>
        </p:txBody>
      </p:sp>
      <p:sp>
        <p:nvSpPr>
          <p:cNvPr id="20" name="Elipse 19">
            <a:extLst>
              <a:ext uri="{FF2B5EF4-FFF2-40B4-BE49-F238E27FC236}">
                <a16:creationId xmlns:a16="http://schemas.microsoft.com/office/drawing/2014/main" id="{1A82BB24-B8DB-BC41-00D9-1A0DE7194758}"/>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21" name="Marcador de número de diapositiva 2">
            <a:extLst>
              <a:ext uri="{FF2B5EF4-FFF2-40B4-BE49-F238E27FC236}">
                <a16:creationId xmlns:a16="http://schemas.microsoft.com/office/drawing/2014/main" id="{1873D899-0DF0-2719-3E9B-BC4D0470FAF1}"/>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20</a:t>
            </a:fld>
            <a:endParaRPr lang="en-US" b="1">
              <a:solidFill>
                <a:schemeClr val="bg1"/>
              </a:solidFill>
              <a:latin typeface="Calibri"/>
              <a:ea typeface="ヒラギノ角ゴ Pro W3"/>
              <a:cs typeface="Calibri"/>
            </a:endParaRPr>
          </a:p>
        </p:txBody>
      </p:sp>
    </p:spTree>
    <p:extLst>
      <p:ext uri="{BB962C8B-B14F-4D97-AF65-F5344CB8AC3E}">
        <p14:creationId xmlns:p14="http://schemas.microsoft.com/office/powerpoint/2010/main" val="34450650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270" imgH="270" progId="TCLayout.ActiveDocument.1">
                  <p:embed/>
                </p:oleObj>
              </mc:Choice>
              <mc:Fallback>
                <p:oleObj name="Diapositiva de think-cell" r:id="rId3" imgW="270" imgH="270" progId="TCLayout.ActiveDocument.1">
                  <p:embed/>
                  <p:pic>
                    <p:nvPicPr>
                      <p:cNvPr id="7" name="Objeto 6" hidden="1"/>
                      <p:cNvPicPr/>
                      <p:nvPr/>
                    </p:nvPicPr>
                    <p:blipFill>
                      <a:blip r:embed="rId4"/>
                      <a:stretch>
                        <a:fillRect/>
                      </a:stretch>
                    </p:blipFill>
                    <p:spPr>
                      <a:xfrm>
                        <a:off x="1525588" y="1588"/>
                        <a:ext cx="1588" cy="1588"/>
                      </a:xfrm>
                      <a:prstGeom prst="rect">
                        <a:avLst/>
                      </a:prstGeom>
                    </p:spPr>
                  </p:pic>
                </p:oleObj>
              </mc:Fallback>
            </mc:AlternateContent>
          </a:graphicData>
        </a:graphic>
      </p:graphicFrame>
      <p:cxnSp>
        <p:nvCxnSpPr>
          <p:cNvPr id="6" name="Conector recto 5"/>
          <p:cNvCxnSpPr>
            <a:cxnSpLocks/>
          </p:cNvCxnSpPr>
          <p:nvPr/>
        </p:nvCxnSpPr>
        <p:spPr>
          <a:xfrm>
            <a:off x="671390" y="1361384"/>
            <a:ext cx="10237910" cy="0"/>
          </a:xfrm>
          <a:prstGeom prst="line">
            <a:avLst/>
          </a:prstGeom>
          <a:ln>
            <a:solidFill>
              <a:srgbClr val="002060"/>
            </a:solidFill>
          </a:ln>
        </p:spPr>
        <p:style>
          <a:lnRef idx="1">
            <a:schemeClr val="accent1"/>
          </a:lnRef>
          <a:fillRef idx="0">
            <a:schemeClr val="accent1"/>
          </a:fillRef>
          <a:effectRef idx="0">
            <a:schemeClr val="accent1"/>
          </a:effectRef>
          <a:fontRef idx="minor">
            <a:schemeClr val="tx1"/>
          </a:fontRef>
        </p:style>
      </p:cxnSp>
      <p:sp>
        <p:nvSpPr>
          <p:cNvPr id="16" name="Pentágono 15"/>
          <p:cNvSpPr/>
          <p:nvPr/>
        </p:nvSpPr>
        <p:spPr>
          <a:xfrm>
            <a:off x="671390" y="1500909"/>
            <a:ext cx="1688424" cy="631437"/>
          </a:xfrm>
          <a:prstGeom prst="homePlate">
            <a:avLst>
              <a:gd name="adj" fmla="val 14184"/>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b="1">
                <a:latin typeface="gobCL" pitchFamily="50" charset="0"/>
                <a:cs typeface="Arial" panose="020B0604020202020204" pitchFamily="34" charset="0"/>
              </a:rPr>
              <a:t>ASEMUCH</a:t>
            </a:r>
          </a:p>
        </p:txBody>
      </p:sp>
      <p:cxnSp>
        <p:nvCxnSpPr>
          <p:cNvPr id="18" name="Conector recto 17"/>
          <p:cNvCxnSpPr>
            <a:cxnSpLocks/>
          </p:cNvCxnSpPr>
          <p:nvPr/>
        </p:nvCxnSpPr>
        <p:spPr>
          <a:xfrm>
            <a:off x="674984" y="2375365"/>
            <a:ext cx="10221616"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4" name="Rectángulo 23"/>
          <p:cNvSpPr/>
          <p:nvPr/>
        </p:nvSpPr>
        <p:spPr>
          <a:xfrm>
            <a:off x="2722213" y="1443756"/>
            <a:ext cx="8187087" cy="830997"/>
          </a:xfrm>
          <a:prstGeom prst="rect">
            <a:avLst/>
          </a:prstGeom>
        </p:spPr>
        <p:txBody>
          <a:bodyPr wrap="square" lIns="91440" tIns="45720" rIns="91440" bIns="45720" anchor="t">
            <a:spAutoFit/>
          </a:bodyPr>
          <a:lstStyle/>
          <a:p>
            <a:pPr marL="285750" indent="-285750" algn="just">
              <a:buFont typeface="Arial" panose="020B0604020202020204" pitchFamily="34" charset="0"/>
              <a:buChar char="•"/>
            </a:pPr>
            <a:r>
              <a:rPr lang="es-ES" sz="1600">
                <a:solidFill>
                  <a:srgbClr val="1F4E79"/>
                </a:solidFill>
                <a:latin typeface="gobCL" pitchFamily="50" charset="0"/>
                <a:cs typeface="Arial"/>
              </a:rPr>
              <a:t>Se abordará el estudio de la demanda para derogar el artículo 9 ter de la ley N°19.803, 40 horas, planes de retiro, y el proyecto de ley en materias de incremento previsional, entre otras materias.</a:t>
            </a:r>
          </a:p>
        </p:txBody>
      </p:sp>
      <p:sp>
        <p:nvSpPr>
          <p:cNvPr id="8" name="Título 5">
            <a:extLst>
              <a:ext uri="{FF2B5EF4-FFF2-40B4-BE49-F238E27FC236}">
                <a16:creationId xmlns:a16="http://schemas.microsoft.com/office/drawing/2014/main" id="{D199A181-2E3F-3DA3-301D-BE646354ADF9}"/>
              </a:ext>
            </a:extLst>
          </p:cNvPr>
          <p:cNvSpPr txBox="1">
            <a:spLocks/>
          </p:cNvSpPr>
          <p:nvPr/>
        </p:nvSpPr>
        <p:spPr>
          <a:xfrm>
            <a:off x="0" y="439515"/>
            <a:ext cx="9432780" cy="581412"/>
          </a:xfrm>
          <a:prstGeom prst="rect">
            <a:avLst/>
          </a:prstGeom>
          <a:noFill/>
          <a:ln w="9525">
            <a:noFill/>
            <a:miter lim="800000"/>
            <a:headEnd/>
            <a:tailEnd/>
          </a:ln>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535940" algn="l"/>
            <a:r>
              <a:rPr lang="es-ES_tradnl" sz="2800" b="1">
                <a:solidFill>
                  <a:srgbClr val="1F4E79"/>
                </a:solidFill>
                <a:latin typeface="gobCL"/>
                <a:ea typeface="Verdana"/>
                <a:cs typeface="Arial"/>
              </a:rPr>
              <a:t>Agenda  de trabajo 2023 – 2024</a:t>
            </a:r>
          </a:p>
          <a:p>
            <a:pPr marL="535940" algn="l"/>
            <a:r>
              <a:rPr lang="es-ES_tradnl" sz="1600" b="1">
                <a:solidFill>
                  <a:schemeClr val="tx1">
                    <a:lumMod val="50000"/>
                    <a:lumOff val="50000"/>
                  </a:schemeClr>
                </a:solidFill>
                <a:latin typeface="gobCL"/>
                <a:ea typeface="Verdana"/>
                <a:cs typeface="Arial"/>
              </a:rPr>
              <a:t>PRINCIPALES MATERIAS</a:t>
            </a:r>
          </a:p>
        </p:txBody>
      </p:sp>
      <p:sp>
        <p:nvSpPr>
          <p:cNvPr id="13" name="Pentágono 15">
            <a:extLst>
              <a:ext uri="{FF2B5EF4-FFF2-40B4-BE49-F238E27FC236}">
                <a16:creationId xmlns:a16="http://schemas.microsoft.com/office/drawing/2014/main" id="{F923AD76-AEA7-9D2A-6A6A-A70D8378176E}"/>
              </a:ext>
            </a:extLst>
          </p:cNvPr>
          <p:cNvSpPr/>
          <p:nvPr/>
        </p:nvSpPr>
        <p:spPr>
          <a:xfrm>
            <a:off x="671390" y="2531147"/>
            <a:ext cx="1688424" cy="542253"/>
          </a:xfrm>
          <a:prstGeom prst="homePlate">
            <a:avLst>
              <a:gd name="adj" fmla="val 14184"/>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s-CL" b="1">
                <a:latin typeface="gobCL" pitchFamily="50" charset="0"/>
                <a:cs typeface="Arial" panose="020B0604020202020204" pitchFamily="34" charset="0"/>
              </a:rPr>
              <a:t>AJUNJI</a:t>
            </a:r>
          </a:p>
        </p:txBody>
      </p:sp>
      <p:sp>
        <p:nvSpPr>
          <p:cNvPr id="14" name="Rectángulo 13">
            <a:extLst>
              <a:ext uri="{FF2B5EF4-FFF2-40B4-BE49-F238E27FC236}">
                <a16:creationId xmlns:a16="http://schemas.microsoft.com/office/drawing/2014/main" id="{CD9DF521-4C22-F389-FDC6-A70B2EE6BE4C}"/>
              </a:ext>
            </a:extLst>
          </p:cNvPr>
          <p:cNvSpPr/>
          <p:nvPr/>
        </p:nvSpPr>
        <p:spPr>
          <a:xfrm>
            <a:off x="2722213" y="2537531"/>
            <a:ext cx="8187087" cy="584775"/>
          </a:xfrm>
          <a:prstGeom prst="rect">
            <a:avLst/>
          </a:prstGeom>
        </p:spPr>
        <p:txBody>
          <a:bodyPr wrap="square" lIns="91440" tIns="45720" rIns="91440" bIns="45720" anchor="t">
            <a:spAutoFit/>
          </a:bodyPr>
          <a:lstStyle/>
          <a:p>
            <a:pPr marL="285750" indent="-285750" algn="just">
              <a:buFont typeface="Arial" panose="020B0604020202020204" pitchFamily="34" charset="0"/>
              <a:buChar char="•"/>
            </a:pPr>
            <a:r>
              <a:rPr lang="es-ES" sz="1600">
                <a:solidFill>
                  <a:srgbClr val="1F4E79"/>
                </a:solidFill>
                <a:latin typeface="gobCL" pitchFamily="50" charset="0"/>
                <a:cs typeface="Arial"/>
              </a:rPr>
              <a:t>Se instalará una mesa de trabajo, que analizará la factibilidad de generar una línea base para reformar la estructura de planta de la JUNJI.</a:t>
            </a:r>
          </a:p>
        </p:txBody>
      </p:sp>
      <p:cxnSp>
        <p:nvCxnSpPr>
          <p:cNvPr id="2" name="Conector recto 1">
            <a:extLst>
              <a:ext uri="{FF2B5EF4-FFF2-40B4-BE49-F238E27FC236}">
                <a16:creationId xmlns:a16="http://schemas.microsoft.com/office/drawing/2014/main" id="{20F30B8B-24E8-A33E-B29E-FD1B071D61F4}"/>
              </a:ext>
            </a:extLst>
          </p:cNvPr>
          <p:cNvCxnSpPr>
            <a:cxnSpLocks/>
          </p:cNvCxnSpPr>
          <p:nvPr/>
        </p:nvCxnSpPr>
        <p:spPr>
          <a:xfrm>
            <a:off x="674984" y="3200008"/>
            <a:ext cx="10234316"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5" name="Elipse 14">
            <a:extLst>
              <a:ext uri="{FF2B5EF4-FFF2-40B4-BE49-F238E27FC236}">
                <a16:creationId xmlns:a16="http://schemas.microsoft.com/office/drawing/2014/main" id="{3DB162C4-28E2-6411-AFDB-478E55007243}"/>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7" name="Marcador de número de diapositiva 2">
            <a:extLst>
              <a:ext uri="{FF2B5EF4-FFF2-40B4-BE49-F238E27FC236}">
                <a16:creationId xmlns:a16="http://schemas.microsoft.com/office/drawing/2014/main" id="{263CD156-3D1D-B75C-3200-7D510A0C5EC6}"/>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21</a:t>
            </a:fld>
            <a:endParaRPr lang="en-US" b="1">
              <a:solidFill>
                <a:schemeClr val="bg1"/>
              </a:solidFill>
              <a:latin typeface="Calibri"/>
              <a:ea typeface="ヒラギノ角ゴ Pro W3"/>
              <a:cs typeface="Calibri"/>
            </a:endParaRPr>
          </a:p>
        </p:txBody>
      </p:sp>
    </p:spTree>
    <p:extLst>
      <p:ext uri="{BB962C8B-B14F-4D97-AF65-F5344CB8AC3E}">
        <p14:creationId xmlns:p14="http://schemas.microsoft.com/office/powerpoint/2010/main" val="19519482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uadroTexto 3"/>
          <p:cNvSpPr txBox="1"/>
          <p:nvPr/>
        </p:nvSpPr>
        <p:spPr>
          <a:xfrm>
            <a:off x="573932" y="1302773"/>
            <a:ext cx="10311319" cy="3970318"/>
          </a:xfrm>
          <a:prstGeom prst="rect">
            <a:avLst/>
          </a:prstGeom>
          <a:noFill/>
        </p:spPr>
        <p:txBody>
          <a:bodyPr wrap="square" lIns="91440" tIns="45720" rIns="91440" bIns="45720" rtlCol="0" anchor="t">
            <a:spAutoFit/>
          </a:bodyPr>
          <a:lstStyle/>
          <a:p>
            <a:pPr marL="174625" indent="-174625">
              <a:buFont typeface="Arial" panose="020B0604020202020204" pitchFamily="34" charset="0"/>
              <a:buChar char="•"/>
            </a:pPr>
            <a:r>
              <a:rPr lang="es-ES">
                <a:solidFill>
                  <a:srgbClr val="1F4E79"/>
                </a:solidFill>
                <a:latin typeface="gobCL"/>
                <a:ea typeface="Verdana"/>
                <a:cs typeface="Arial"/>
              </a:rPr>
              <a:t>Reajuste general: 4,3%</a:t>
            </a:r>
          </a:p>
          <a:p>
            <a:pPr marL="174625" indent="-174625">
              <a:buFont typeface="Arial" panose="020B0604020202020204" pitchFamily="34" charset="0"/>
              <a:buChar char="•"/>
            </a:pPr>
            <a:endParaRPr lang="es-ES">
              <a:solidFill>
                <a:srgbClr val="1F4E79"/>
              </a:solidFill>
              <a:latin typeface="gobCL"/>
              <a:ea typeface="Verdana"/>
              <a:cs typeface="Arial"/>
            </a:endParaRPr>
          </a:p>
          <a:p>
            <a:pPr marL="174625" indent="-174625">
              <a:buFont typeface="Arial" panose="020B0604020202020204" pitchFamily="34" charset="0"/>
              <a:buChar char="•"/>
            </a:pPr>
            <a:r>
              <a:rPr lang="es-ES">
                <a:solidFill>
                  <a:srgbClr val="1F4E79"/>
                </a:solidFill>
                <a:latin typeface="gobCL"/>
                <a:ea typeface="Verdana"/>
                <a:cs typeface="Arial"/>
              </a:rPr>
              <a:t>Monto bonos sector activo reajustados en 4,8%:</a:t>
            </a:r>
          </a:p>
          <a:p>
            <a:pPr marL="982345" lvl="1" indent="-174625">
              <a:buFont typeface="Arial" panose="020B0604020202020204" pitchFamily="34" charset="0"/>
              <a:buChar char="•"/>
            </a:pPr>
            <a:r>
              <a:rPr lang="es-ES">
                <a:solidFill>
                  <a:srgbClr val="1F4E79"/>
                </a:solidFill>
                <a:latin typeface="gobCL"/>
                <a:ea typeface="Verdana"/>
                <a:cs typeface="Arial"/>
              </a:rPr>
              <a:t>Bono de Vacaciones</a:t>
            </a:r>
          </a:p>
          <a:p>
            <a:pPr marL="982345" lvl="1" indent="-174625">
              <a:buFont typeface="Arial" panose="020B0604020202020204" pitchFamily="34" charset="0"/>
              <a:buChar char="•"/>
            </a:pPr>
            <a:r>
              <a:rPr lang="es-ES">
                <a:solidFill>
                  <a:srgbClr val="1F4E79"/>
                </a:solidFill>
                <a:latin typeface="gobCL"/>
                <a:ea typeface="Verdana"/>
                <a:cs typeface="Arial"/>
              </a:rPr>
              <a:t>Aguinaldo de Fiestas Patrias</a:t>
            </a:r>
          </a:p>
          <a:p>
            <a:pPr marL="982345" lvl="1" indent="-174625">
              <a:buFont typeface="Arial" panose="020B0604020202020204" pitchFamily="34" charset="0"/>
              <a:buChar char="•"/>
            </a:pPr>
            <a:r>
              <a:rPr lang="es-ES">
                <a:solidFill>
                  <a:srgbClr val="1F4E79"/>
                </a:solidFill>
                <a:latin typeface="gobCL"/>
                <a:ea typeface="Verdana"/>
                <a:cs typeface="Arial"/>
              </a:rPr>
              <a:t>Bono de Escolaridad  y Adicional</a:t>
            </a:r>
          </a:p>
          <a:p>
            <a:pPr marL="982345" lvl="1" indent="-174625">
              <a:buFont typeface="Arial" panose="020B0604020202020204" pitchFamily="34" charset="0"/>
              <a:buChar char="•"/>
            </a:pPr>
            <a:r>
              <a:rPr lang="es-ES">
                <a:solidFill>
                  <a:srgbClr val="1F4E79"/>
                </a:solidFill>
                <a:latin typeface="gobCL"/>
                <a:ea typeface="Verdana"/>
                <a:cs typeface="Arial"/>
              </a:rPr>
              <a:t>Bono de escolaridad para universidades estatales</a:t>
            </a:r>
          </a:p>
          <a:p>
            <a:pPr marL="982345" lvl="1" indent="-174625">
              <a:buFont typeface="Arial" panose="020B0604020202020204" pitchFamily="34" charset="0"/>
              <a:buChar char="•"/>
            </a:pPr>
            <a:r>
              <a:rPr lang="es-ES">
                <a:solidFill>
                  <a:srgbClr val="1F4E79"/>
                </a:solidFill>
                <a:latin typeface="gobCL"/>
                <a:ea typeface="Verdana"/>
                <a:cs typeface="Arial"/>
              </a:rPr>
              <a:t>Aguinaldo Navidad</a:t>
            </a:r>
          </a:p>
          <a:p>
            <a:pPr marL="800100" lvl="1" indent="-342900">
              <a:buFont typeface="Arial" panose="020B0604020202020204" pitchFamily="34" charset="0"/>
              <a:buChar char="•"/>
            </a:pPr>
            <a:endParaRPr lang="es-ES">
              <a:solidFill>
                <a:srgbClr val="1F4E79"/>
              </a:solidFill>
              <a:latin typeface="gobCL"/>
              <a:ea typeface="Verdana"/>
              <a:cs typeface="Arial"/>
            </a:endParaRPr>
          </a:p>
          <a:p>
            <a:pPr marL="174625" indent="-174625">
              <a:buFont typeface="Arial" panose="020B0604020202020204" pitchFamily="34" charset="0"/>
              <a:buChar char="•"/>
            </a:pPr>
            <a:r>
              <a:rPr lang="es-ES">
                <a:solidFill>
                  <a:srgbClr val="1F4E79"/>
                </a:solidFill>
                <a:latin typeface="gobCL"/>
                <a:ea typeface="Verdana"/>
                <a:cs typeface="Arial"/>
              </a:rPr>
              <a:t>Remuneraciones mínimas y bono mensual para rentas inferiores reajustados en 4,8%</a:t>
            </a:r>
          </a:p>
          <a:p>
            <a:pPr marL="174625" indent="-174625">
              <a:buFont typeface="Arial" panose="020B0604020202020204" pitchFamily="34" charset="0"/>
              <a:buChar char="•"/>
            </a:pPr>
            <a:endParaRPr lang="es-ES">
              <a:solidFill>
                <a:srgbClr val="1F4E79"/>
              </a:solidFill>
              <a:latin typeface="gobCL"/>
              <a:ea typeface="Verdana"/>
              <a:cs typeface="Arial"/>
            </a:endParaRPr>
          </a:p>
          <a:p>
            <a:pPr marL="174625" indent="-174625">
              <a:buFont typeface="Arial" panose="020B0604020202020204" pitchFamily="34" charset="0"/>
              <a:buChar char="•"/>
            </a:pPr>
            <a:r>
              <a:rPr lang="es-ES">
                <a:solidFill>
                  <a:srgbClr val="1F4E79"/>
                </a:solidFill>
                <a:latin typeface="gobCL"/>
                <a:ea typeface="Verdana"/>
                <a:cs typeface="Arial"/>
              </a:rPr>
              <a:t>Aporte a Servicio de Bienestar: 15%</a:t>
            </a:r>
          </a:p>
          <a:p>
            <a:pPr marL="174625" indent="-174625">
              <a:buFont typeface="Arial" panose="020B0604020202020204" pitchFamily="34" charset="0"/>
              <a:buChar char="•"/>
            </a:pPr>
            <a:endParaRPr lang="es-ES">
              <a:solidFill>
                <a:srgbClr val="1F4E79"/>
              </a:solidFill>
              <a:latin typeface="gobCL"/>
              <a:ea typeface="Verdana"/>
              <a:cs typeface="Arial"/>
            </a:endParaRPr>
          </a:p>
          <a:p>
            <a:pPr marL="174625" indent="-174625">
              <a:buFont typeface="Arial" panose="020B0604020202020204" pitchFamily="34" charset="0"/>
              <a:buChar char="•"/>
            </a:pPr>
            <a:r>
              <a:rPr lang="es-ES">
                <a:solidFill>
                  <a:srgbClr val="1F4E79"/>
                </a:solidFill>
                <a:latin typeface="gobCL"/>
                <a:ea typeface="Verdana"/>
                <a:cs typeface="Arial"/>
              </a:rPr>
              <a:t>Bono Acuerdo: $200.000 Tramo 1 - $100.000 Tramo 2</a:t>
            </a:r>
          </a:p>
        </p:txBody>
      </p:sp>
      <p:sp>
        <p:nvSpPr>
          <p:cNvPr id="6" name="Elipse 5">
            <a:extLst>
              <a:ext uri="{FF2B5EF4-FFF2-40B4-BE49-F238E27FC236}">
                <a16:creationId xmlns:a16="http://schemas.microsoft.com/office/drawing/2014/main" id="{967EC1FC-F85A-ACB0-FD19-46BF4ECDD6EA}"/>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7" name="Marcador de número de diapositiva 2">
            <a:extLst>
              <a:ext uri="{FF2B5EF4-FFF2-40B4-BE49-F238E27FC236}">
                <a16:creationId xmlns:a16="http://schemas.microsoft.com/office/drawing/2014/main" id="{830016B7-BF7E-5C85-057C-0EEC8BAD7790}"/>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22</a:t>
            </a:fld>
            <a:endParaRPr lang="en-US" b="1">
              <a:solidFill>
                <a:schemeClr val="bg1"/>
              </a:solidFill>
              <a:latin typeface="Calibri"/>
              <a:ea typeface="ヒラギノ角ゴ Pro W3"/>
              <a:cs typeface="Calibri"/>
            </a:endParaRPr>
          </a:p>
        </p:txBody>
      </p:sp>
      <p:sp>
        <p:nvSpPr>
          <p:cNvPr id="8" name="Shape 460">
            <a:extLst>
              <a:ext uri="{FF2B5EF4-FFF2-40B4-BE49-F238E27FC236}">
                <a16:creationId xmlns:a16="http://schemas.microsoft.com/office/drawing/2014/main" id="{475EA3C9-3F03-3CA4-FC58-5E2F3FA20896}"/>
              </a:ext>
            </a:extLst>
          </p:cNvPr>
          <p:cNvSpPr/>
          <p:nvPr/>
        </p:nvSpPr>
        <p:spPr>
          <a:xfrm>
            <a:off x="564138" y="373709"/>
            <a:ext cx="8394834" cy="462173"/>
          </a:xfrm>
          <a:prstGeom prst="rect">
            <a:avLst/>
          </a:prstGeom>
          <a:extLst>
            <a:ext uri="{C572A759-6A51-4108-AA02-DFA0A04FC94B}">
              <ma14:wrappingTextBoxFlag xmlns:ma14="http://schemas.microsoft.com/office/mac/drawingml/2011/main" xmlns="" val="1"/>
            </a:ext>
          </a:extLst>
        </p:spPr>
        <p:txBody>
          <a:bodyPr vert="horz" lIns="91440" tIns="45720" rIns="91440" bIns="45720" rtlCol="0" anchor="t">
            <a:noAutofit/>
          </a:bodyPr>
          <a:lstStyle/>
          <a:p>
            <a:pPr>
              <a:lnSpc>
                <a:spcPct val="90000"/>
              </a:lnSpc>
              <a:spcBef>
                <a:spcPts val="1000"/>
              </a:spcBef>
            </a:pPr>
            <a:r>
              <a:rPr lang="es-ES" sz="2800" b="1">
                <a:solidFill>
                  <a:srgbClr val="1F4E79"/>
                </a:solidFill>
                <a:latin typeface="gobCL"/>
                <a:sym typeface="MyriadPro-SemiboldSemiCn"/>
              </a:rPr>
              <a:t>Definiciones Generales sobre Beneficios Económicos</a:t>
            </a:r>
            <a:endParaRPr lang="es-ES" sz="2800">
              <a:solidFill>
                <a:srgbClr val="1F4E79"/>
              </a:solidFill>
              <a:cs typeface="Calibri"/>
            </a:endParaRPr>
          </a:p>
        </p:txBody>
      </p:sp>
    </p:spTree>
    <p:extLst>
      <p:ext uri="{BB962C8B-B14F-4D97-AF65-F5344CB8AC3E}">
        <p14:creationId xmlns:p14="http://schemas.microsoft.com/office/powerpoint/2010/main" val="877613551"/>
      </p:ext>
    </p:extLst>
  </p:cSld>
  <p:clrMapOvr>
    <a:overrideClrMapping bg1="lt1" tx1="dk1" bg2="lt2" tx2="dk2" accent1="accent1" accent2="accent2" accent3="accent3" accent4="accent4" accent5="accent5" accent6="accent6" hlink="hlink" folHlink="folHlink"/>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uadroTexto 3"/>
          <p:cNvSpPr txBox="1"/>
          <p:nvPr/>
        </p:nvSpPr>
        <p:spPr>
          <a:xfrm>
            <a:off x="564138" y="1370869"/>
            <a:ext cx="10357291" cy="3970318"/>
          </a:xfrm>
          <a:prstGeom prst="rect">
            <a:avLst/>
          </a:prstGeom>
          <a:noFill/>
        </p:spPr>
        <p:txBody>
          <a:bodyPr wrap="square" lIns="91440" tIns="45720" rIns="91440" bIns="45720" rtlCol="0" anchor="t">
            <a:spAutoFit/>
          </a:bodyPr>
          <a:lstStyle/>
          <a:p>
            <a:pPr marL="174625" indent="-174625">
              <a:buFont typeface="Arial" panose="020B0604020202020204" pitchFamily="34" charset="0"/>
              <a:buChar char="•"/>
            </a:pPr>
            <a:r>
              <a:rPr lang="es-ES">
                <a:solidFill>
                  <a:srgbClr val="1F4E79"/>
                </a:solidFill>
                <a:latin typeface="gobCL"/>
                <a:ea typeface="Verdana"/>
                <a:cs typeface="Arial"/>
              </a:rPr>
              <a:t>Se renuevan las siguientes asignaciones: </a:t>
            </a:r>
          </a:p>
          <a:p>
            <a:pPr marL="627063" lvl="1" indent="174625">
              <a:buFont typeface="Arial" panose="020B0604020202020204" pitchFamily="34" charset="0"/>
              <a:buChar char="•"/>
            </a:pPr>
            <a:r>
              <a:rPr lang="es-ES">
                <a:solidFill>
                  <a:srgbClr val="1F4E79"/>
                </a:solidFill>
                <a:latin typeface="gobCL"/>
                <a:ea typeface="Verdana"/>
                <a:cs typeface="Arial"/>
              </a:rPr>
              <a:t>Extensión del Bono para personal de la Región de Atacama. Ley N°20.924: 4,8%.</a:t>
            </a:r>
          </a:p>
          <a:p>
            <a:pPr marL="627063" lvl="1" indent="174625">
              <a:buFont typeface="Arial" panose="020B0604020202020204" pitchFamily="34" charset="0"/>
              <a:buChar char="•"/>
            </a:pPr>
            <a:r>
              <a:rPr lang="es-ES">
                <a:solidFill>
                  <a:srgbClr val="1F4E79"/>
                </a:solidFill>
                <a:latin typeface="gobCL"/>
                <a:ea typeface="Verdana"/>
                <a:cs typeface="Arial"/>
              </a:rPr>
              <a:t>Asignación Especial para el personal del Servicio Médico Legal, afectos a la Ley N°15.076: 4,8%.</a:t>
            </a:r>
          </a:p>
          <a:p>
            <a:pPr marL="627063" lvl="1" indent="174625">
              <a:buFont typeface="Arial" panose="020B0604020202020204" pitchFamily="34" charset="0"/>
              <a:buChar char="•"/>
            </a:pPr>
            <a:r>
              <a:rPr lang="es-ES">
                <a:solidFill>
                  <a:srgbClr val="1F4E79"/>
                </a:solidFill>
                <a:latin typeface="gobCL"/>
                <a:ea typeface="Verdana"/>
                <a:cs typeface="Arial"/>
              </a:rPr>
              <a:t>Asignación por Desempeño en Condiciones Difíciles al personal asistente de la educación.</a:t>
            </a:r>
          </a:p>
          <a:p>
            <a:pPr marL="800100" lvl="1" indent="-342900">
              <a:buFont typeface="Arial" panose="020B0604020202020204" pitchFamily="34" charset="0"/>
              <a:buChar char="•"/>
            </a:pPr>
            <a:endParaRPr lang="es-ES">
              <a:solidFill>
                <a:srgbClr val="1F4E79"/>
              </a:solidFill>
              <a:latin typeface="gobCL"/>
              <a:ea typeface="Verdana"/>
              <a:cs typeface="Arial"/>
            </a:endParaRPr>
          </a:p>
          <a:p>
            <a:pPr marL="174625" indent="-174625">
              <a:buFont typeface="Arial" panose="020B0604020202020204" pitchFamily="34" charset="0"/>
              <a:buChar char="•"/>
            </a:pPr>
            <a:r>
              <a:rPr lang="es-ES">
                <a:solidFill>
                  <a:srgbClr val="1F4E79"/>
                </a:solidFill>
                <a:latin typeface="gobCL"/>
                <a:ea typeface="Verdana"/>
                <a:cs typeface="Arial"/>
              </a:rPr>
              <a:t>Se incorporan nuevas normas respecto de ingresos mínimos y rentas inferiores: </a:t>
            </a:r>
          </a:p>
          <a:p>
            <a:pPr marL="800100" lvl="1" indent="-173038">
              <a:buFont typeface="Arial" panose="020B0604020202020204" pitchFamily="34" charset="0"/>
              <a:buChar char="•"/>
            </a:pPr>
            <a:r>
              <a:rPr lang="es-CL" b="1">
                <a:solidFill>
                  <a:srgbClr val="1F4E79"/>
                </a:solidFill>
                <a:latin typeface="gobCL"/>
                <a:ea typeface="Verdana"/>
                <a:cs typeface="Arial"/>
              </a:rPr>
              <a:t>Bono Rentas mínimas AAEE</a:t>
            </a:r>
            <a:r>
              <a:rPr lang="es-CL">
                <a:solidFill>
                  <a:srgbClr val="1F4E79"/>
                </a:solidFill>
                <a:latin typeface="gobCL"/>
                <a:ea typeface="Verdana"/>
                <a:cs typeface="Arial"/>
              </a:rPr>
              <a:t> (artículo 59 Ley N°20.883): 4,8% y actualización tramo corte ($503.005).</a:t>
            </a:r>
          </a:p>
          <a:p>
            <a:pPr marL="800100" lvl="1" indent="-173038">
              <a:buFont typeface="Arial" panose="020B0604020202020204" pitchFamily="34" charset="0"/>
              <a:buChar char="•"/>
            </a:pPr>
            <a:r>
              <a:rPr lang="es-CL" b="1">
                <a:solidFill>
                  <a:srgbClr val="1F4E79"/>
                </a:solidFill>
                <a:latin typeface="gobCL"/>
                <a:ea typeface="Verdana"/>
                <a:cs typeface="Arial"/>
              </a:rPr>
              <a:t>Atención Primaria de Salud (APS): </a:t>
            </a:r>
            <a:r>
              <a:rPr lang="es-ES">
                <a:solidFill>
                  <a:srgbClr val="1F4E79"/>
                </a:solidFill>
                <a:latin typeface="gobCL"/>
                <a:ea typeface="Verdana"/>
                <a:cs typeface="Arial"/>
              </a:rPr>
              <a:t>Se fija una remuneración bruta mensual mínima para el personal de las categorías de Técnicos de nivel superior; Técnicos de Salud; Administrativos de Salud; Auxiliares de servicios de Salud de la Atención Primaria de Salud.</a:t>
            </a:r>
          </a:p>
          <a:p>
            <a:pPr marL="800100" lvl="1" indent="-173038">
              <a:buFont typeface="Arial" panose="020B0604020202020204" pitchFamily="34" charset="0"/>
              <a:buChar char="•"/>
            </a:pPr>
            <a:r>
              <a:rPr lang="es-MX" b="1">
                <a:solidFill>
                  <a:srgbClr val="1F4E79"/>
                </a:solidFill>
                <a:latin typeface="gobCL"/>
              </a:rPr>
              <a:t>Remuneraciones mínimas en universidades estatales: </a:t>
            </a:r>
            <a:r>
              <a:rPr lang="es-MX">
                <a:solidFill>
                  <a:srgbClr val="1F4E79"/>
                </a:solidFill>
                <a:latin typeface="gobCL"/>
              </a:rPr>
              <a:t>Se fijan remuneraciones mínimas en universidades estatales.</a:t>
            </a:r>
            <a:endParaRPr lang="es-ES">
              <a:solidFill>
                <a:srgbClr val="1F4E79"/>
              </a:solidFill>
              <a:latin typeface="gobCL"/>
            </a:endParaRPr>
          </a:p>
          <a:p>
            <a:pPr marL="800100" lvl="1" indent="-173038">
              <a:buFont typeface="Arial" panose="020B0604020202020204" pitchFamily="34" charset="0"/>
              <a:buChar char="•"/>
            </a:pPr>
            <a:r>
              <a:rPr lang="es-ES" b="1">
                <a:solidFill>
                  <a:srgbClr val="1F4E79"/>
                </a:solidFill>
                <a:latin typeface="gobCL"/>
              </a:rPr>
              <a:t>Bono mensual para remuneraciones inferiores en universidades estatales: </a:t>
            </a:r>
            <a:r>
              <a:rPr lang="es-MX">
                <a:solidFill>
                  <a:srgbClr val="1F4E79"/>
                </a:solidFill>
                <a:latin typeface="gobCL"/>
              </a:rPr>
              <a:t>Se extiende el otorgamiento del bono mensual para remuneraciones inferiores a las universidades estatales.</a:t>
            </a:r>
            <a:endParaRPr lang="es-ES">
              <a:solidFill>
                <a:srgbClr val="1F4E79"/>
              </a:solidFill>
              <a:latin typeface="gobCL"/>
              <a:ea typeface="Verdana"/>
              <a:cs typeface="Arial"/>
            </a:endParaRPr>
          </a:p>
        </p:txBody>
      </p:sp>
      <p:sp>
        <p:nvSpPr>
          <p:cNvPr id="7" name="Elipse 6">
            <a:extLst>
              <a:ext uri="{FF2B5EF4-FFF2-40B4-BE49-F238E27FC236}">
                <a16:creationId xmlns:a16="http://schemas.microsoft.com/office/drawing/2014/main" id="{1F2AD880-83A8-DE0F-8429-39B388C285AA}"/>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 name="Marcador de número de diapositiva 2">
            <a:extLst>
              <a:ext uri="{FF2B5EF4-FFF2-40B4-BE49-F238E27FC236}">
                <a16:creationId xmlns:a16="http://schemas.microsoft.com/office/drawing/2014/main" id="{8290B6EC-E181-8A64-AD57-554478056098}"/>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23</a:t>
            </a:fld>
            <a:endParaRPr lang="en-US" b="1">
              <a:solidFill>
                <a:schemeClr val="bg1"/>
              </a:solidFill>
              <a:latin typeface="Calibri"/>
              <a:ea typeface="ヒラギノ角ゴ Pro W3"/>
              <a:cs typeface="Calibri"/>
            </a:endParaRPr>
          </a:p>
        </p:txBody>
      </p:sp>
      <p:sp>
        <p:nvSpPr>
          <p:cNvPr id="8" name="Shape 460">
            <a:extLst>
              <a:ext uri="{FF2B5EF4-FFF2-40B4-BE49-F238E27FC236}">
                <a16:creationId xmlns:a16="http://schemas.microsoft.com/office/drawing/2014/main" id="{475EA3C9-3F03-3CA4-FC58-5E2F3FA20896}"/>
              </a:ext>
            </a:extLst>
          </p:cNvPr>
          <p:cNvSpPr/>
          <p:nvPr/>
        </p:nvSpPr>
        <p:spPr>
          <a:xfrm>
            <a:off x="564138" y="375893"/>
            <a:ext cx="8394834" cy="462173"/>
          </a:xfrm>
          <a:prstGeom prst="rect">
            <a:avLst/>
          </a:prstGeom>
          <a:extLst>
            <a:ext uri="{C572A759-6A51-4108-AA02-DFA0A04FC94B}">
              <ma14:wrappingTextBoxFlag xmlns:ma14="http://schemas.microsoft.com/office/mac/drawingml/2011/main" xmlns="" val="1"/>
            </a:ext>
          </a:extLst>
        </p:spPr>
        <p:txBody>
          <a:bodyPr vert="horz" lIns="91440" tIns="45720" rIns="91440" bIns="45720" rtlCol="0" anchor="t">
            <a:noAutofit/>
          </a:bodyPr>
          <a:lstStyle/>
          <a:p>
            <a:pPr>
              <a:lnSpc>
                <a:spcPct val="90000"/>
              </a:lnSpc>
              <a:spcBef>
                <a:spcPts val="1000"/>
              </a:spcBef>
            </a:pPr>
            <a:r>
              <a:rPr lang="es-ES" sz="2800" b="1">
                <a:solidFill>
                  <a:srgbClr val="1F4E79"/>
                </a:solidFill>
                <a:latin typeface="gobCL"/>
                <a:sym typeface="MyriadPro-SemiboldSemiCn"/>
              </a:rPr>
              <a:t>Definiciones Generales sobre Beneficios Económicos</a:t>
            </a:r>
            <a:endParaRPr lang="es-ES" sz="2800">
              <a:solidFill>
                <a:srgbClr val="1F4E79"/>
              </a:solidFill>
              <a:cs typeface="Calibri"/>
            </a:endParaRPr>
          </a:p>
        </p:txBody>
      </p:sp>
    </p:spTree>
    <p:extLst>
      <p:ext uri="{BB962C8B-B14F-4D97-AF65-F5344CB8AC3E}">
        <p14:creationId xmlns:p14="http://schemas.microsoft.com/office/powerpoint/2010/main" val="2951709829"/>
      </p:ext>
    </p:extLst>
  </p:cSld>
  <p:clrMapOvr>
    <a:overrideClrMapping bg1="lt1" tx1="dk1" bg2="lt2" tx2="dk2" accent1="accent1" accent2="accent2" accent3="accent3" accent4="accent4" accent5="accent5" accent6="accent6" hlink="hlink" folHlink="folHlink"/>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hape 460">
            <a:extLst>
              <a:ext uri="{FF2B5EF4-FFF2-40B4-BE49-F238E27FC236}">
                <a16:creationId xmlns:a16="http://schemas.microsoft.com/office/drawing/2014/main" id="{475EA3C9-3F03-3CA4-FC58-5E2F3FA20896}"/>
              </a:ext>
            </a:extLst>
          </p:cNvPr>
          <p:cNvSpPr/>
          <p:nvPr/>
        </p:nvSpPr>
        <p:spPr>
          <a:xfrm>
            <a:off x="553864" y="365619"/>
            <a:ext cx="8394834" cy="462173"/>
          </a:xfrm>
          <a:prstGeom prst="rect">
            <a:avLst/>
          </a:prstGeom>
          <a:extLst>
            <a:ext uri="{C572A759-6A51-4108-AA02-DFA0A04FC94B}">
              <ma14:wrappingTextBoxFlag xmlns:ma14="http://schemas.microsoft.com/office/mac/drawingml/2011/main" xmlns="" val="1"/>
            </a:ext>
          </a:extLst>
        </p:spPr>
        <p:txBody>
          <a:bodyPr vert="horz" lIns="91440" tIns="45720" rIns="91440" bIns="45720" rtlCol="0" anchor="t">
            <a:noAutofit/>
          </a:bodyPr>
          <a:lstStyle/>
          <a:p>
            <a:pPr>
              <a:lnSpc>
                <a:spcPct val="90000"/>
              </a:lnSpc>
              <a:spcBef>
                <a:spcPts val="1000"/>
              </a:spcBef>
            </a:pPr>
            <a:r>
              <a:rPr lang="es-ES" sz="2800" b="1">
                <a:solidFill>
                  <a:srgbClr val="1F4E79"/>
                </a:solidFill>
                <a:latin typeface="gobCL"/>
                <a:sym typeface="MyriadPro-SemiboldSemiCn"/>
              </a:rPr>
              <a:t>Cobertura de Beneficiarios Estimados</a:t>
            </a:r>
            <a:endParaRPr lang="es-ES" sz="2800">
              <a:solidFill>
                <a:srgbClr val="1F4E79"/>
              </a:solidFill>
              <a:cs typeface="Calibri"/>
            </a:endParaRPr>
          </a:p>
        </p:txBody>
      </p:sp>
      <p:graphicFrame>
        <p:nvGraphicFramePr>
          <p:cNvPr id="4" name="Gráfico 3">
            <a:extLst>
              <a:ext uri="{FF2B5EF4-FFF2-40B4-BE49-F238E27FC236}">
                <a16:creationId xmlns:a16="http://schemas.microsoft.com/office/drawing/2014/main" id="{22006101-9E8C-AF6E-8186-1C5F5FFEEA42}"/>
              </a:ext>
            </a:extLst>
          </p:cNvPr>
          <p:cNvGraphicFramePr>
            <a:graphicFrameLocks/>
          </p:cNvGraphicFramePr>
          <p:nvPr>
            <p:extLst>
              <p:ext uri="{D42A27DB-BD31-4B8C-83A1-F6EECF244321}">
                <p14:modId xmlns:p14="http://schemas.microsoft.com/office/powerpoint/2010/main" val="786304696"/>
              </p:ext>
            </p:extLst>
          </p:nvPr>
        </p:nvGraphicFramePr>
        <p:xfrm>
          <a:off x="688369" y="1359497"/>
          <a:ext cx="10208231" cy="4747821"/>
        </p:xfrm>
        <a:graphic>
          <a:graphicData uri="http://schemas.openxmlformats.org/drawingml/2006/chart">
            <c:chart xmlns:c="http://schemas.openxmlformats.org/drawingml/2006/chart" xmlns:r="http://schemas.openxmlformats.org/officeDocument/2006/relationships" r:id="rId3"/>
          </a:graphicData>
        </a:graphic>
      </p:graphicFrame>
      <p:sp>
        <p:nvSpPr>
          <p:cNvPr id="2" name="Elipse 1">
            <a:extLst>
              <a:ext uri="{FF2B5EF4-FFF2-40B4-BE49-F238E27FC236}">
                <a16:creationId xmlns:a16="http://schemas.microsoft.com/office/drawing/2014/main" id="{5DF856DF-BC14-FD9A-C324-DC00BC4CA220}"/>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 name="Marcador de número de diapositiva 2">
            <a:extLst>
              <a:ext uri="{FF2B5EF4-FFF2-40B4-BE49-F238E27FC236}">
                <a16:creationId xmlns:a16="http://schemas.microsoft.com/office/drawing/2014/main" id="{50350C40-DC02-A104-46F0-B274F1F9B496}"/>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24</a:t>
            </a:fld>
            <a:endParaRPr lang="en-US" b="1">
              <a:solidFill>
                <a:schemeClr val="bg1"/>
              </a:solidFill>
              <a:latin typeface="Calibri"/>
              <a:ea typeface="ヒラギノ角ゴ Pro W3"/>
              <a:cs typeface="Calibri"/>
            </a:endParaRPr>
          </a:p>
        </p:txBody>
      </p:sp>
    </p:spTree>
    <p:extLst>
      <p:ext uri="{BB962C8B-B14F-4D97-AF65-F5344CB8AC3E}">
        <p14:creationId xmlns:p14="http://schemas.microsoft.com/office/powerpoint/2010/main" val="32717808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3 Rectángulo">
            <a:extLst>
              <a:ext uri="{FF2B5EF4-FFF2-40B4-BE49-F238E27FC236}">
                <a16:creationId xmlns:a16="http://schemas.microsoft.com/office/drawing/2014/main" id="{02E78718-C78F-7824-C124-D674357AB82A}"/>
              </a:ext>
            </a:extLst>
          </p:cNvPr>
          <p:cNvSpPr/>
          <p:nvPr/>
        </p:nvSpPr>
        <p:spPr>
          <a:xfrm>
            <a:off x="516455" y="5079393"/>
            <a:ext cx="10405546" cy="510808"/>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Verdana" panose="020B0604030504040204" pitchFamily="34" charset="0"/>
              <a:ea typeface="Verdana" panose="020B0604030504040204" pitchFamily="34" charset="0"/>
            </a:endParaRPr>
          </a:p>
        </p:txBody>
      </p:sp>
      <p:sp>
        <p:nvSpPr>
          <p:cNvPr id="9" name="1 Rectángulo">
            <a:extLst>
              <a:ext uri="{FF2B5EF4-FFF2-40B4-BE49-F238E27FC236}">
                <a16:creationId xmlns:a16="http://schemas.microsoft.com/office/drawing/2014/main" id="{8EFCF52D-C237-605F-857B-18A445DCD5BD}"/>
              </a:ext>
            </a:extLst>
          </p:cNvPr>
          <p:cNvSpPr/>
          <p:nvPr/>
        </p:nvSpPr>
        <p:spPr>
          <a:xfrm>
            <a:off x="516455" y="2938484"/>
            <a:ext cx="9681646" cy="3416320"/>
          </a:xfrm>
          <a:prstGeom prst="rect">
            <a:avLst/>
          </a:prstGeom>
        </p:spPr>
        <p:txBody>
          <a:bodyPr wrap="square" lIns="91440" tIns="45720" rIns="91440" bIns="45720" anchor="t">
            <a:spAutoFit/>
          </a:bodyPr>
          <a:lstStyle/>
          <a:p>
            <a:pPr marL="457200" indent="-342900">
              <a:buAutoNum type="arabicPeriod"/>
            </a:pPr>
            <a:r>
              <a:rPr lang="es-ES" sz="2400" dirty="0">
                <a:solidFill>
                  <a:srgbClr val="1F4E79"/>
                </a:solidFill>
                <a:latin typeface="gobCL"/>
                <a:ea typeface="Verdana"/>
                <a:cs typeface="Arial"/>
              </a:rPr>
              <a:t>Antecedentes de contexto </a:t>
            </a:r>
            <a:endParaRPr lang="es-ES" sz="2400" dirty="0">
              <a:solidFill>
                <a:srgbClr val="1F4E79"/>
              </a:solidFill>
              <a:latin typeface="gobCL"/>
              <a:ea typeface="Verdana" panose="020B0604030504040204" pitchFamily="34" charset="0"/>
              <a:cs typeface="Arial" panose="020B0604020202020204" pitchFamily="34" charset="0"/>
            </a:endParaRPr>
          </a:p>
          <a:p>
            <a:pPr marL="457200" indent="-342900">
              <a:buAutoNum type="arabicPeriod"/>
            </a:pPr>
            <a:endParaRPr lang="es-ES" sz="2400" dirty="0">
              <a:solidFill>
                <a:srgbClr val="1F4E79"/>
              </a:solidFill>
              <a:latin typeface="gobCL"/>
              <a:ea typeface="Verdana"/>
              <a:cs typeface="Arial"/>
            </a:endParaRPr>
          </a:p>
          <a:p>
            <a:pPr marL="457200" indent="-342900">
              <a:buFont typeface="+mj-lt"/>
              <a:buAutoNum type="arabicPeriod"/>
            </a:pPr>
            <a:r>
              <a:rPr lang="es-ES" sz="2400" dirty="0">
                <a:solidFill>
                  <a:srgbClr val="1F4E79"/>
                </a:solidFill>
                <a:latin typeface="gobCL"/>
                <a:ea typeface="Verdana"/>
                <a:cs typeface="Arial"/>
              </a:rPr>
              <a:t>Protocolo de Acuerdo del Reajuste General del Sector Público </a:t>
            </a:r>
          </a:p>
          <a:p>
            <a:pPr marL="457200" indent="-342900">
              <a:buAutoNum type="arabicPeriod"/>
            </a:pPr>
            <a:endParaRPr lang="es-CL" sz="2400" dirty="0">
              <a:solidFill>
                <a:schemeClr val="bg1">
                  <a:lumMod val="95000"/>
                </a:schemeClr>
              </a:solidFill>
              <a:latin typeface="gobCL"/>
              <a:ea typeface="Verdana"/>
              <a:cs typeface="Arial"/>
            </a:endParaRPr>
          </a:p>
          <a:p>
            <a:pPr marL="457200" indent="-342900">
              <a:buFontTx/>
              <a:buAutoNum type="arabicPeriod"/>
            </a:pPr>
            <a:r>
              <a:rPr lang="es-CL" sz="2400" dirty="0">
                <a:solidFill>
                  <a:srgbClr val="1F4E79"/>
                </a:solidFill>
                <a:latin typeface="gobCL"/>
                <a:ea typeface="Verdana"/>
                <a:cs typeface="Arial"/>
              </a:rPr>
              <a:t>Agenda de trabajo 2023 - 2024</a:t>
            </a:r>
          </a:p>
          <a:p>
            <a:pPr marL="457200" indent="-342900">
              <a:buAutoNum type="arabicPeriod"/>
            </a:pPr>
            <a:endParaRPr lang="es-CL" sz="2400" dirty="0">
              <a:solidFill>
                <a:srgbClr val="1F4E79"/>
              </a:solidFill>
              <a:latin typeface="gobCL"/>
              <a:ea typeface="Verdana"/>
              <a:cs typeface="Arial"/>
            </a:endParaRPr>
          </a:p>
          <a:p>
            <a:pPr marL="457200" indent="-342900">
              <a:buFontTx/>
              <a:buAutoNum type="arabicPeriod"/>
            </a:pPr>
            <a:r>
              <a:rPr lang="es-CL" sz="2400" dirty="0">
                <a:solidFill>
                  <a:schemeClr val="bg1"/>
                </a:solidFill>
                <a:latin typeface="gobCL"/>
                <a:ea typeface="Verdana"/>
                <a:cs typeface="Arial"/>
              </a:rPr>
              <a:t>Otros contenidos del proyecto de ley</a:t>
            </a:r>
          </a:p>
          <a:p>
            <a:pPr marL="457200" indent="-342900">
              <a:buFontTx/>
              <a:buAutoNum type="arabicPeriod"/>
            </a:pPr>
            <a:endParaRPr lang="es-CL" sz="2400" dirty="0">
              <a:solidFill>
                <a:srgbClr val="1F4E79"/>
              </a:solidFill>
              <a:latin typeface="gobCL"/>
              <a:ea typeface="Verdana"/>
              <a:cs typeface="Arial"/>
            </a:endParaRPr>
          </a:p>
          <a:p>
            <a:pPr marL="457200" indent="-342900">
              <a:buFont typeface="+mj-lt"/>
              <a:buAutoNum type="arabicPeriod"/>
            </a:pPr>
            <a:r>
              <a:rPr lang="es-CL" sz="2400" dirty="0">
                <a:solidFill>
                  <a:srgbClr val="1F4E79"/>
                </a:solidFill>
                <a:latin typeface="gobCL"/>
                <a:ea typeface="Verdana"/>
                <a:cs typeface="Arial"/>
              </a:rPr>
              <a:t>Informe Financiero</a:t>
            </a:r>
            <a:endParaRPr lang="es-CL" sz="2400" dirty="0">
              <a:solidFill>
                <a:srgbClr val="1F4E79"/>
              </a:solidFill>
              <a:latin typeface="gobCL"/>
              <a:ea typeface="Verdana" panose="020B0604030504040204" pitchFamily="34" charset="0"/>
              <a:cs typeface="Arial" panose="020B0604020202020204" pitchFamily="34" charset="0"/>
            </a:endParaRPr>
          </a:p>
        </p:txBody>
      </p:sp>
      <p:sp>
        <p:nvSpPr>
          <p:cNvPr id="11" name="Shape 460">
            <a:extLst>
              <a:ext uri="{FF2B5EF4-FFF2-40B4-BE49-F238E27FC236}">
                <a16:creationId xmlns:a16="http://schemas.microsoft.com/office/drawing/2014/main" id="{EE937969-DCE7-D6A0-95A4-E349381B4CFF}"/>
              </a:ext>
            </a:extLst>
          </p:cNvPr>
          <p:cNvSpPr/>
          <p:nvPr/>
        </p:nvSpPr>
        <p:spPr>
          <a:xfrm>
            <a:off x="551354" y="369278"/>
            <a:ext cx="2731922" cy="405422"/>
          </a:xfrm>
          <a:prstGeom prst="rect">
            <a:avLst/>
          </a:prstGeom>
          <a:extLst>
            <a:ext uri="{C572A759-6A51-4108-AA02-DFA0A04FC94B}">
              <ma14:wrappingTextBoxFlag xmlns:ma14="http://schemas.microsoft.com/office/mac/drawingml/2011/main" xmlns="" val="1"/>
            </a:ext>
          </a:extLst>
        </p:spPr>
        <p:txBody>
          <a:bodyPr vert="horz" lIns="91440" tIns="45720" rIns="91440" bIns="45720" rtlCol="0" anchor="t">
            <a:noAutofit/>
          </a:bodyPr>
          <a:lstStyle/>
          <a:p>
            <a:pPr>
              <a:lnSpc>
                <a:spcPct val="90000"/>
              </a:lnSpc>
              <a:spcBef>
                <a:spcPts val="1000"/>
              </a:spcBef>
            </a:pPr>
            <a:r>
              <a:rPr lang="es-CL" sz="2800" b="1">
                <a:solidFill>
                  <a:srgbClr val="1F4E79"/>
                </a:solidFill>
                <a:latin typeface="gobCL"/>
                <a:sym typeface="MyriadPro-SemiboldSemiCn"/>
              </a:rPr>
              <a:t>Agenda</a:t>
            </a:r>
            <a:endParaRPr lang="es-ES" sz="2800" b="1">
              <a:solidFill>
                <a:srgbClr val="1F4E79"/>
              </a:solidFill>
              <a:latin typeface="gobCL"/>
            </a:endParaRPr>
          </a:p>
        </p:txBody>
      </p:sp>
    </p:spTree>
    <p:extLst>
      <p:ext uri="{BB962C8B-B14F-4D97-AF65-F5344CB8AC3E}">
        <p14:creationId xmlns:p14="http://schemas.microsoft.com/office/powerpoint/2010/main" val="2275897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2"/>
          <p:cNvSpPr/>
          <p:nvPr/>
        </p:nvSpPr>
        <p:spPr>
          <a:xfrm>
            <a:off x="525219" y="1318418"/>
            <a:ext cx="10218981" cy="3754874"/>
          </a:xfrm>
          <a:prstGeom prst="rect">
            <a:avLst/>
          </a:prstGeom>
        </p:spPr>
        <p:txBody>
          <a:bodyPr wrap="square" lIns="91440" tIns="45720" rIns="91440" bIns="45720" anchor="t">
            <a:spAutoFit/>
          </a:bodyPr>
          <a:lstStyle/>
          <a:p>
            <a:pPr marL="228600" indent="-228600">
              <a:spcAft>
                <a:spcPts val="1200"/>
              </a:spcAft>
              <a:buAutoNum type="arabicPeriod"/>
            </a:pPr>
            <a:r>
              <a:rPr lang="es-ES" sz="2000" b="1">
                <a:solidFill>
                  <a:srgbClr val="1F4E79"/>
                </a:solidFill>
                <a:latin typeface="gobCL" pitchFamily="50" charset="0"/>
                <a:ea typeface="Verdana"/>
                <a:cs typeface="Arial"/>
              </a:rPr>
              <a:t> Reajuste Sector pasivo año 2024.</a:t>
            </a:r>
          </a:p>
          <a:p>
            <a:pPr marL="228600" indent="-228600">
              <a:spcAft>
                <a:spcPts val="1200"/>
              </a:spcAft>
              <a:buAutoNum type="arabicPeriod"/>
            </a:pPr>
            <a:r>
              <a:rPr lang="es-ES" sz="2000" b="1">
                <a:solidFill>
                  <a:srgbClr val="1F4E79"/>
                </a:solidFill>
                <a:latin typeface="gobCL" pitchFamily="50" charset="0"/>
                <a:ea typeface="Verdana"/>
                <a:cs typeface="Arial"/>
              </a:rPr>
              <a:t> Planes de retiro</a:t>
            </a:r>
          </a:p>
          <a:p>
            <a:pPr marL="228600" indent="-228600">
              <a:spcAft>
                <a:spcPts val="1200"/>
              </a:spcAft>
              <a:buAutoNum type="arabicPeriod"/>
            </a:pPr>
            <a:r>
              <a:rPr lang="es-ES" sz="2000" b="1">
                <a:solidFill>
                  <a:srgbClr val="1F4E79"/>
                </a:solidFill>
                <a:latin typeface="gobCL" pitchFamily="50" charset="0"/>
                <a:ea typeface="Verdana"/>
                <a:cs typeface="Arial"/>
              </a:rPr>
              <a:t> Plantas, remuneraciones, trabajo remoto</a:t>
            </a:r>
          </a:p>
          <a:p>
            <a:pPr marL="228600" indent="-228600">
              <a:spcAft>
                <a:spcPts val="1200"/>
              </a:spcAft>
              <a:buAutoNum type="arabicPeriod"/>
            </a:pPr>
            <a:r>
              <a:rPr lang="es-ES" sz="2000" b="1">
                <a:solidFill>
                  <a:srgbClr val="1F4E79"/>
                </a:solidFill>
                <a:latin typeface="gobCL" pitchFamily="50" charset="0"/>
                <a:ea typeface="Verdana"/>
                <a:cs typeface="Arial"/>
              </a:rPr>
              <a:t> Ajuste en vigencia de normas</a:t>
            </a:r>
          </a:p>
          <a:p>
            <a:pPr marL="228600" indent="-228600">
              <a:spcAft>
                <a:spcPts val="1200"/>
              </a:spcAft>
              <a:buAutoNum type="arabicPeriod"/>
            </a:pPr>
            <a:r>
              <a:rPr lang="es-ES" sz="2000" b="1">
                <a:solidFill>
                  <a:srgbClr val="1F4E79"/>
                </a:solidFill>
                <a:latin typeface="gobCL" pitchFamily="50" charset="0"/>
                <a:ea typeface="Verdana"/>
                <a:cs typeface="Arial"/>
              </a:rPr>
              <a:t>Gestión y compromisos LP2024</a:t>
            </a:r>
          </a:p>
          <a:p>
            <a:pPr marL="228600" indent="-228600">
              <a:spcAft>
                <a:spcPts val="1200"/>
              </a:spcAft>
              <a:buAutoNum type="arabicPeriod"/>
            </a:pPr>
            <a:r>
              <a:rPr lang="es-ES" sz="2000" b="1">
                <a:solidFill>
                  <a:srgbClr val="1F4E79"/>
                </a:solidFill>
                <a:latin typeface="gobCL" pitchFamily="50" charset="0"/>
                <a:ea typeface="Verdana"/>
                <a:cs typeface="Arial"/>
              </a:rPr>
              <a:t>Otros</a:t>
            </a:r>
            <a:endParaRPr lang="es-ES" sz="2000">
              <a:solidFill>
                <a:srgbClr val="1F4E79"/>
              </a:solidFill>
              <a:latin typeface="gobCL" pitchFamily="50" charset="0"/>
              <a:ea typeface="Calibri"/>
              <a:cs typeface="Calibri" panose="020F0502020204030204"/>
            </a:endParaRPr>
          </a:p>
          <a:p>
            <a:pPr marL="342900" lvl="1"/>
            <a:endParaRPr lang="es-ES" sz="2000">
              <a:solidFill>
                <a:schemeClr val="accent1">
                  <a:lumMod val="50000"/>
                </a:schemeClr>
              </a:solidFill>
              <a:latin typeface="gobCL"/>
              <a:ea typeface="Verdana"/>
              <a:cs typeface="Arial"/>
            </a:endParaRPr>
          </a:p>
          <a:p>
            <a:pPr lvl="1" indent="-114300">
              <a:buFont typeface="Arial" panose="020B0604020202020204" pitchFamily="34" charset="0"/>
              <a:buChar char="•"/>
            </a:pPr>
            <a:endParaRPr lang="es-ES" sz="2000">
              <a:solidFill>
                <a:schemeClr val="accent1">
                  <a:lumMod val="50000"/>
                </a:schemeClr>
              </a:solidFill>
              <a:latin typeface="gobCL"/>
              <a:ea typeface="Verdana"/>
              <a:cs typeface="Arial"/>
            </a:endParaRPr>
          </a:p>
          <a:p>
            <a:pPr lvl="1" indent="-114300">
              <a:buFont typeface="Arial" panose="020B0604020202020204" pitchFamily="34" charset="0"/>
              <a:buChar char="•"/>
            </a:pPr>
            <a:endParaRPr lang="es-ES">
              <a:solidFill>
                <a:schemeClr val="accent1">
                  <a:lumMod val="50000"/>
                </a:schemeClr>
              </a:solidFill>
              <a:ea typeface="Calibri" panose="020F0502020204030204"/>
              <a:cs typeface="Calibri" panose="020F0502020204030204"/>
            </a:endParaRPr>
          </a:p>
        </p:txBody>
      </p:sp>
      <p:sp>
        <p:nvSpPr>
          <p:cNvPr id="5" name="Título 5">
            <a:extLst>
              <a:ext uri="{FF2B5EF4-FFF2-40B4-BE49-F238E27FC236}">
                <a16:creationId xmlns:a16="http://schemas.microsoft.com/office/drawing/2014/main" id="{79E08035-ABAC-E57B-6A42-A2E87C2E6713}"/>
              </a:ext>
            </a:extLst>
          </p:cNvPr>
          <p:cNvSpPr txBox="1">
            <a:spLocks/>
          </p:cNvSpPr>
          <p:nvPr/>
        </p:nvSpPr>
        <p:spPr>
          <a:xfrm>
            <a:off x="541645" y="392876"/>
            <a:ext cx="7548255" cy="415532"/>
          </a:xfrm>
          <a:prstGeom prst="rect">
            <a:avLst/>
          </a:prstGeom>
          <a:noFill/>
          <a:ln w="9525">
            <a:noFill/>
            <a:miter lim="800000"/>
            <a:headEnd/>
            <a:tailEnd/>
          </a:ln>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Bef>
                <a:spcPts val="0"/>
              </a:spcBef>
              <a:defRPr/>
            </a:pPr>
            <a:r>
              <a:rPr lang="es-ES_tradnl" sz="2800" b="1">
                <a:solidFill>
                  <a:srgbClr val="1F4E79"/>
                </a:solidFill>
                <a:latin typeface="gobCL"/>
                <a:cs typeface="Arial"/>
              </a:rPr>
              <a:t>Otras materias incluidas en el proyecto de ley</a:t>
            </a:r>
            <a:endParaRPr lang="es-ES">
              <a:solidFill>
                <a:srgbClr val="1F4E79"/>
              </a:solidFill>
            </a:endParaRPr>
          </a:p>
        </p:txBody>
      </p:sp>
      <p:sp>
        <p:nvSpPr>
          <p:cNvPr id="2" name="Elipse 1">
            <a:extLst>
              <a:ext uri="{FF2B5EF4-FFF2-40B4-BE49-F238E27FC236}">
                <a16:creationId xmlns:a16="http://schemas.microsoft.com/office/drawing/2014/main" id="{BCFC0BA9-58B7-4875-42FF-7F433F7B0B58}"/>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 name="Marcador de número de diapositiva 2">
            <a:extLst>
              <a:ext uri="{FF2B5EF4-FFF2-40B4-BE49-F238E27FC236}">
                <a16:creationId xmlns:a16="http://schemas.microsoft.com/office/drawing/2014/main" id="{C97D6226-651B-1B13-85C8-3DB81BF16AD4}"/>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26</a:t>
            </a:fld>
            <a:endParaRPr lang="en-US" b="1">
              <a:solidFill>
                <a:schemeClr val="bg1"/>
              </a:solidFill>
              <a:latin typeface="Calibri"/>
              <a:ea typeface="ヒラギノ角ゴ Pro W3"/>
              <a:cs typeface="Calibri"/>
            </a:endParaRPr>
          </a:p>
        </p:txBody>
      </p:sp>
    </p:spTree>
    <p:extLst>
      <p:ext uri="{BB962C8B-B14F-4D97-AF65-F5344CB8AC3E}">
        <p14:creationId xmlns:p14="http://schemas.microsoft.com/office/powerpoint/2010/main" val="31269065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2"/>
          <p:cNvSpPr/>
          <p:nvPr/>
        </p:nvSpPr>
        <p:spPr>
          <a:xfrm>
            <a:off x="525219" y="1318418"/>
            <a:ext cx="10218981" cy="5539978"/>
          </a:xfrm>
          <a:prstGeom prst="rect">
            <a:avLst/>
          </a:prstGeom>
        </p:spPr>
        <p:txBody>
          <a:bodyPr wrap="square" lIns="91440" tIns="45720" rIns="91440" bIns="45720" anchor="t">
            <a:spAutoFit/>
          </a:bodyPr>
          <a:lstStyle/>
          <a:p>
            <a:pPr marL="228600" indent="-228600">
              <a:spcAft>
                <a:spcPts val="1200"/>
              </a:spcAft>
              <a:buAutoNum type="arabicPeriod"/>
            </a:pPr>
            <a:r>
              <a:rPr lang="es-ES" sz="2000" b="1">
                <a:solidFill>
                  <a:srgbClr val="1F4E79"/>
                </a:solidFill>
                <a:latin typeface="gobCL" pitchFamily="50" charset="0"/>
                <a:ea typeface="Verdana"/>
                <a:cs typeface="Arial"/>
              </a:rPr>
              <a:t> Aguinaldos de Fiestas Patrias, Navidad y Bono de Invierno para pensionados año 2024.</a:t>
            </a:r>
            <a:endParaRPr lang="es-ES" sz="2000">
              <a:solidFill>
                <a:srgbClr val="1F4E79"/>
              </a:solidFill>
              <a:latin typeface="gobCL" pitchFamily="50" charset="0"/>
              <a:ea typeface="Calibri"/>
              <a:cs typeface="Calibri" panose="020F0502020204030204"/>
            </a:endParaRPr>
          </a:p>
          <a:p>
            <a:pPr marL="685800" lvl="1" indent="-152400">
              <a:spcAft>
                <a:spcPts val="1200"/>
              </a:spcAft>
              <a:buFont typeface="Arial" panose="020B0604020202020204" pitchFamily="34" charset="0"/>
              <a:buChar char="•"/>
            </a:pPr>
            <a:r>
              <a:rPr lang="es-ES">
                <a:solidFill>
                  <a:srgbClr val="1F4E79"/>
                </a:solidFill>
                <a:latin typeface="gobCL" pitchFamily="50" charset="0"/>
                <a:ea typeface="Verdana"/>
                <a:cs typeface="Arial"/>
              </a:rPr>
              <a:t>Aguinaldo de Fiestas Patrias por un monto de $ 24.261 e incremento por cargas familiares de $12.446, beneficiando a 2.852.909 pensionados.</a:t>
            </a:r>
          </a:p>
          <a:p>
            <a:pPr marL="685800" lvl="1" indent="-152400">
              <a:spcAft>
                <a:spcPts val="1200"/>
              </a:spcAft>
              <a:buFont typeface="Arial" panose="020B0604020202020204" pitchFamily="34" charset="0"/>
              <a:buChar char="•"/>
            </a:pPr>
            <a:r>
              <a:rPr lang="es-ES">
                <a:solidFill>
                  <a:srgbClr val="1F4E79"/>
                </a:solidFill>
                <a:latin typeface="gobCL" pitchFamily="50" charset="0"/>
                <a:ea typeface="Verdana"/>
                <a:cs typeface="Arial"/>
              </a:rPr>
              <a:t>Aguinaldo de Navidad por un monto de $ 27.884 e incremento por cargas familiares de $ 15.753, beneficiando a 2.908.015 pensionados.</a:t>
            </a:r>
          </a:p>
          <a:p>
            <a:pPr marL="685800" lvl="1" indent="-152400">
              <a:spcAft>
                <a:spcPts val="1200"/>
              </a:spcAft>
              <a:buFont typeface="Arial" panose="020B0604020202020204" pitchFamily="34" charset="0"/>
              <a:buChar char="•"/>
            </a:pPr>
            <a:r>
              <a:rPr lang="es-ES">
                <a:solidFill>
                  <a:srgbClr val="1F4E79"/>
                </a:solidFill>
                <a:latin typeface="gobCL" pitchFamily="50" charset="0"/>
                <a:ea typeface="Verdana"/>
                <a:cs typeface="Arial"/>
              </a:rPr>
              <a:t>Bono de Invierno por un monto de $77.982. El bono beneficia a </a:t>
            </a:r>
            <a:r>
              <a:rPr lang="es-CL">
                <a:solidFill>
                  <a:srgbClr val="1F4E79"/>
                </a:solidFill>
                <a:latin typeface="gobCL" pitchFamily="50" charset="0"/>
                <a:ea typeface="Verdana"/>
                <a:cs typeface="Arial"/>
              </a:rPr>
              <a:t>1.760.832</a:t>
            </a:r>
            <a:r>
              <a:rPr lang="es-ES">
                <a:solidFill>
                  <a:srgbClr val="1F4E79"/>
                </a:solidFill>
                <a:latin typeface="gobCL" pitchFamily="50" charset="0"/>
                <a:ea typeface="Verdana"/>
                <a:cs typeface="Arial"/>
              </a:rPr>
              <a:t>  pensionados en 2024, de los cuales 1.417.453 corresponden a beneficiarios de la PGU.</a:t>
            </a:r>
          </a:p>
          <a:p>
            <a:pPr marL="685800" lvl="1" indent="-342900">
              <a:spcAft>
                <a:spcPts val="1200"/>
              </a:spcAft>
              <a:buFont typeface="Arial" panose="020B0604020202020204" pitchFamily="34" charset="0"/>
              <a:buChar char="•"/>
            </a:pPr>
            <a:r>
              <a:rPr lang="es-ES">
                <a:solidFill>
                  <a:srgbClr val="1F4E79"/>
                </a:solidFill>
                <a:latin typeface="gobCL" pitchFamily="50" charset="0"/>
                <a:ea typeface="Verdana"/>
                <a:cs typeface="Arial"/>
              </a:rPr>
              <a:t>Para el Bono invierno, a los beneficiarios de las leyes reparatorias (</a:t>
            </a:r>
            <a:r>
              <a:rPr lang="es-ES" err="1">
                <a:solidFill>
                  <a:srgbClr val="1F4E79"/>
                </a:solidFill>
                <a:latin typeface="gobCL" pitchFamily="50" charset="0"/>
                <a:ea typeface="Verdana"/>
                <a:cs typeface="Arial"/>
              </a:rPr>
              <a:t>Valech</a:t>
            </a:r>
            <a:r>
              <a:rPr lang="es-ES">
                <a:solidFill>
                  <a:srgbClr val="1F4E79"/>
                </a:solidFill>
                <a:latin typeface="gobCL" pitchFamily="50" charset="0"/>
                <a:ea typeface="Verdana"/>
                <a:cs typeface="Arial"/>
              </a:rPr>
              <a:t> y Rettig) y a los exonerados, se establece que en el cálculo de su pensión no se considerará el monto de reparación. Con esto, se estima que el bono será recibido por 60.634 beneficiarios adicionales.</a:t>
            </a:r>
          </a:p>
          <a:p>
            <a:pPr marL="685800" lvl="1" indent="-342900">
              <a:spcAft>
                <a:spcPts val="1200"/>
              </a:spcAft>
              <a:buFont typeface="Arial" panose="020B0604020202020204" pitchFamily="34" charset="0"/>
              <a:buChar char="•"/>
            </a:pPr>
            <a:r>
              <a:rPr lang="es-ES">
                <a:solidFill>
                  <a:srgbClr val="1F4E79"/>
                </a:solidFill>
                <a:latin typeface="gobCL" pitchFamily="50" charset="0"/>
                <a:ea typeface="Verdana"/>
                <a:cs typeface="Arial"/>
              </a:rPr>
              <a:t>Respecto de Aguinaldos de Fiestas Patrias y Navidad, se incorpora expresamente a las beneficiarias de pensión de “viudas </a:t>
            </a:r>
            <a:r>
              <a:rPr lang="es-ES" err="1">
                <a:solidFill>
                  <a:srgbClr val="1F4E79"/>
                </a:solidFill>
                <a:latin typeface="gobCL" pitchFamily="50" charset="0"/>
                <a:ea typeface="Verdana"/>
                <a:cs typeface="Arial"/>
              </a:rPr>
              <a:t>Valech</a:t>
            </a:r>
            <a:r>
              <a:rPr lang="es-ES">
                <a:solidFill>
                  <a:srgbClr val="1F4E79"/>
                </a:solidFill>
                <a:latin typeface="gobCL" pitchFamily="50" charset="0"/>
                <a:ea typeface="Verdana"/>
                <a:cs typeface="Arial"/>
              </a:rPr>
              <a:t>” a la norma. Se estima que estos beneficios serán percibidos por 4.172 beneficiarias adicionales.</a:t>
            </a:r>
          </a:p>
          <a:p>
            <a:pPr lvl="1" indent="-114300">
              <a:buFont typeface="Arial" panose="020B0604020202020204" pitchFamily="34" charset="0"/>
              <a:buChar char="•"/>
            </a:pPr>
            <a:endParaRPr lang="es-ES" sz="2000">
              <a:solidFill>
                <a:schemeClr val="accent1">
                  <a:lumMod val="50000"/>
                </a:schemeClr>
              </a:solidFill>
              <a:latin typeface="gobCL"/>
              <a:ea typeface="Verdana"/>
              <a:cs typeface="Arial"/>
            </a:endParaRPr>
          </a:p>
          <a:p>
            <a:pPr lvl="1" indent="-114300">
              <a:buFont typeface="Arial" panose="020B0604020202020204" pitchFamily="34" charset="0"/>
              <a:buChar char="•"/>
            </a:pPr>
            <a:endParaRPr lang="es-ES" sz="2000">
              <a:solidFill>
                <a:schemeClr val="accent1">
                  <a:lumMod val="50000"/>
                </a:schemeClr>
              </a:solidFill>
              <a:latin typeface="gobCL"/>
              <a:ea typeface="Verdana"/>
              <a:cs typeface="Arial"/>
            </a:endParaRPr>
          </a:p>
          <a:p>
            <a:pPr lvl="1" indent="-114300">
              <a:buFont typeface="Arial" panose="020B0604020202020204" pitchFamily="34" charset="0"/>
              <a:buChar char="•"/>
            </a:pPr>
            <a:endParaRPr lang="es-ES">
              <a:solidFill>
                <a:schemeClr val="accent1">
                  <a:lumMod val="50000"/>
                </a:schemeClr>
              </a:solidFill>
              <a:ea typeface="Calibri" panose="020F0502020204030204"/>
              <a:cs typeface="Calibri" panose="020F0502020204030204"/>
            </a:endParaRPr>
          </a:p>
        </p:txBody>
      </p:sp>
      <p:sp>
        <p:nvSpPr>
          <p:cNvPr id="5" name="Título 5">
            <a:extLst>
              <a:ext uri="{FF2B5EF4-FFF2-40B4-BE49-F238E27FC236}">
                <a16:creationId xmlns:a16="http://schemas.microsoft.com/office/drawing/2014/main" id="{79E08035-ABAC-E57B-6A42-A2E87C2E6713}"/>
              </a:ext>
            </a:extLst>
          </p:cNvPr>
          <p:cNvSpPr txBox="1">
            <a:spLocks/>
          </p:cNvSpPr>
          <p:nvPr/>
        </p:nvSpPr>
        <p:spPr>
          <a:xfrm>
            <a:off x="541645" y="392876"/>
            <a:ext cx="7548255" cy="415532"/>
          </a:xfrm>
          <a:prstGeom prst="rect">
            <a:avLst/>
          </a:prstGeom>
          <a:noFill/>
          <a:ln w="9525">
            <a:noFill/>
            <a:miter lim="800000"/>
            <a:headEnd/>
            <a:tailEnd/>
          </a:ln>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Bef>
                <a:spcPts val="0"/>
              </a:spcBef>
              <a:defRPr/>
            </a:pPr>
            <a:r>
              <a:rPr lang="es-ES_tradnl" sz="2800" b="1">
                <a:solidFill>
                  <a:srgbClr val="1F4E79"/>
                </a:solidFill>
                <a:latin typeface="gobCL"/>
                <a:cs typeface="Arial"/>
              </a:rPr>
              <a:t>Otras materias incluidas en el proyecto de ley</a:t>
            </a:r>
            <a:endParaRPr lang="es-ES">
              <a:solidFill>
                <a:srgbClr val="1F4E79"/>
              </a:solidFill>
            </a:endParaRPr>
          </a:p>
        </p:txBody>
      </p:sp>
      <p:sp>
        <p:nvSpPr>
          <p:cNvPr id="2" name="Elipse 1">
            <a:extLst>
              <a:ext uri="{FF2B5EF4-FFF2-40B4-BE49-F238E27FC236}">
                <a16:creationId xmlns:a16="http://schemas.microsoft.com/office/drawing/2014/main" id="{BCFC0BA9-58B7-4875-42FF-7F433F7B0B58}"/>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 name="Marcador de número de diapositiva 2">
            <a:extLst>
              <a:ext uri="{FF2B5EF4-FFF2-40B4-BE49-F238E27FC236}">
                <a16:creationId xmlns:a16="http://schemas.microsoft.com/office/drawing/2014/main" id="{C97D6226-651B-1B13-85C8-3DB81BF16AD4}"/>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27</a:t>
            </a:fld>
            <a:endParaRPr lang="en-US" b="1">
              <a:solidFill>
                <a:schemeClr val="bg1"/>
              </a:solidFill>
              <a:latin typeface="Calibri"/>
              <a:ea typeface="ヒラギノ角ゴ Pro W3"/>
              <a:cs typeface="Calibri"/>
            </a:endParaRPr>
          </a:p>
        </p:txBody>
      </p:sp>
    </p:spTree>
    <p:extLst>
      <p:ext uri="{BB962C8B-B14F-4D97-AF65-F5344CB8AC3E}">
        <p14:creationId xmlns:p14="http://schemas.microsoft.com/office/powerpoint/2010/main" val="1286877226"/>
      </p:ext>
    </p:extLst>
  </p:cSld>
  <p:clrMapOvr>
    <a:overrideClrMapping bg1="lt1" tx1="dk1" bg2="lt2" tx2="dk2" accent1="accent1" accent2="accent2" accent3="accent3" accent4="accent4" accent5="accent5" accent6="accent6" hlink="hlink" folHlink="folHlink"/>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2"/>
          <p:cNvSpPr/>
          <p:nvPr/>
        </p:nvSpPr>
        <p:spPr>
          <a:xfrm>
            <a:off x="523701" y="1286212"/>
            <a:ext cx="10906299" cy="2092881"/>
          </a:xfrm>
          <a:prstGeom prst="rect">
            <a:avLst/>
          </a:prstGeom>
        </p:spPr>
        <p:txBody>
          <a:bodyPr wrap="square" lIns="91440" tIns="45720" rIns="91440" bIns="45720" anchor="t">
            <a:spAutoFit/>
          </a:bodyPr>
          <a:lstStyle/>
          <a:p>
            <a:pPr>
              <a:spcAft>
                <a:spcPts val="1200"/>
              </a:spcAft>
              <a:defRPr/>
            </a:pPr>
            <a:r>
              <a:rPr lang="es-ES" sz="2000" b="1">
                <a:solidFill>
                  <a:srgbClr val="1F4E79"/>
                </a:solidFill>
                <a:latin typeface="gobCL"/>
                <a:ea typeface="Verdana"/>
                <a:cs typeface="Arial"/>
              </a:rPr>
              <a:t>2. Planes de incentivo al retiro de funcionarios</a:t>
            </a:r>
          </a:p>
          <a:p>
            <a:pPr marL="355600" lvl="1" indent="-127000">
              <a:spcAft>
                <a:spcPts val="1200"/>
              </a:spcAft>
              <a:buFont typeface="Arial" panose="020B0604020202020204" pitchFamily="34" charset="0"/>
              <a:buChar char="•"/>
              <a:defRPr/>
            </a:pPr>
            <a:r>
              <a:rPr lang="es-ES">
                <a:solidFill>
                  <a:srgbClr val="1F4E79"/>
                </a:solidFill>
                <a:latin typeface="gobCL"/>
                <a:ea typeface="Verdana"/>
                <a:cs typeface="Arial"/>
              </a:rPr>
              <a:t>Extensión de la vigencia hasta el 31 de diciembre de 2025 de las leyes de incentivo al retiro </a:t>
            </a:r>
            <a:r>
              <a:rPr lang="es-MX">
                <a:solidFill>
                  <a:srgbClr val="1F4E79"/>
                </a:solidFill>
                <a:latin typeface="gobCL"/>
                <a:ea typeface="Verdana"/>
                <a:cs typeface="Arial"/>
              </a:rPr>
              <a:t>Nos. 20.948 (Administración Central del Estado), 21.033 (JUNJI), 20.919 (Atención Primaria de Salud), 20.921 (Servicios de Salud y Otros), 20.976 (Docentes), 20.996 (No Académicos de </a:t>
            </a:r>
            <a:r>
              <a:rPr lang="es-MX" err="1">
                <a:solidFill>
                  <a:srgbClr val="1F4E79"/>
                </a:solidFill>
                <a:latin typeface="gobCL"/>
                <a:ea typeface="Verdana"/>
                <a:cs typeface="Arial"/>
              </a:rPr>
              <a:t>Ues</a:t>
            </a:r>
            <a:r>
              <a:rPr lang="es-MX">
                <a:solidFill>
                  <a:srgbClr val="1F4E79"/>
                </a:solidFill>
                <a:latin typeface="gobCL"/>
                <a:ea typeface="Verdana"/>
                <a:cs typeface="Arial"/>
              </a:rPr>
              <a:t>. Estatales), 21.043 (Académicos de </a:t>
            </a:r>
            <a:r>
              <a:rPr lang="es-MX" err="1">
                <a:solidFill>
                  <a:srgbClr val="1F4E79"/>
                </a:solidFill>
                <a:latin typeface="gobCL"/>
                <a:ea typeface="Verdana"/>
                <a:cs typeface="Arial"/>
              </a:rPr>
              <a:t>Ues</a:t>
            </a:r>
            <a:r>
              <a:rPr lang="es-MX">
                <a:solidFill>
                  <a:srgbClr val="1F4E79"/>
                </a:solidFill>
                <a:latin typeface="gobCL"/>
                <a:ea typeface="Verdana"/>
                <a:cs typeface="Arial"/>
              </a:rPr>
              <a:t>. Estatales), 21.061 (Poder Judicial), 21.084 (Congreso Nacional) y 20.986 (Médicos y Profesionales de la Salud).</a:t>
            </a:r>
          </a:p>
          <a:p>
            <a:pPr marL="355600" lvl="1" indent="-127000">
              <a:spcAft>
                <a:spcPts val="600"/>
              </a:spcAft>
              <a:buFont typeface="Arial" panose="020B0604020202020204" pitchFamily="34" charset="0"/>
              <a:buChar char="•"/>
              <a:defRPr/>
            </a:pPr>
            <a:r>
              <a:rPr lang="es-ES">
                <a:solidFill>
                  <a:srgbClr val="1F4E79"/>
                </a:solidFill>
                <a:latin typeface="gobCL"/>
                <a:ea typeface="Verdana"/>
                <a:cs typeface="Arial"/>
              </a:rPr>
              <a:t>Cupos adicionales:</a:t>
            </a:r>
            <a:endParaRPr lang="es-ES" i="0" strike="noStrike" kern="1200" cap="none" spc="0" normalizeH="0" baseline="0" noProof="0">
              <a:ln>
                <a:noFill/>
              </a:ln>
              <a:solidFill>
                <a:srgbClr val="1F4E79"/>
              </a:solidFill>
              <a:effectLst/>
              <a:uLnTx/>
              <a:uFillTx/>
              <a:latin typeface="gobCL"/>
              <a:ea typeface="Verdana"/>
              <a:cs typeface="Arial"/>
            </a:endParaRPr>
          </a:p>
        </p:txBody>
      </p:sp>
      <p:sp>
        <p:nvSpPr>
          <p:cNvPr id="7" name="Título 5">
            <a:extLst>
              <a:ext uri="{FF2B5EF4-FFF2-40B4-BE49-F238E27FC236}">
                <a16:creationId xmlns:a16="http://schemas.microsoft.com/office/drawing/2014/main" id="{03FB9D43-B474-E85B-791C-D00FAB6333BE}"/>
              </a:ext>
            </a:extLst>
          </p:cNvPr>
          <p:cNvSpPr txBox="1">
            <a:spLocks/>
          </p:cNvSpPr>
          <p:nvPr/>
        </p:nvSpPr>
        <p:spPr>
          <a:xfrm>
            <a:off x="617845" y="392876"/>
            <a:ext cx="9432780" cy="415532"/>
          </a:xfrm>
          <a:prstGeom prst="rect">
            <a:avLst/>
          </a:prstGeom>
          <a:noFill/>
          <a:ln w="9525">
            <a:noFill/>
            <a:miter lim="800000"/>
            <a:headEnd/>
            <a:tailEnd/>
          </a:ln>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Bef>
                <a:spcPts val="0"/>
              </a:spcBef>
              <a:defRPr/>
            </a:pPr>
            <a:r>
              <a:rPr lang="es-ES_tradnl" sz="2800" b="1">
                <a:solidFill>
                  <a:srgbClr val="1F4E79"/>
                </a:solidFill>
                <a:latin typeface="gobCL"/>
                <a:cs typeface="Arial"/>
              </a:rPr>
              <a:t>Otras materias incluidas en el proyecto de ley</a:t>
            </a:r>
            <a:endParaRPr lang="es-ES" sz="1100">
              <a:solidFill>
                <a:srgbClr val="1F4E79"/>
              </a:solidFill>
            </a:endParaRPr>
          </a:p>
        </p:txBody>
      </p:sp>
      <p:graphicFrame>
        <p:nvGraphicFramePr>
          <p:cNvPr id="9" name="Tabla 8">
            <a:extLst>
              <a:ext uri="{FF2B5EF4-FFF2-40B4-BE49-F238E27FC236}">
                <a16:creationId xmlns:a16="http://schemas.microsoft.com/office/drawing/2014/main" id="{6049B724-A37F-D3C2-3B53-1E260A1416DA}"/>
              </a:ext>
            </a:extLst>
          </p:cNvPr>
          <p:cNvGraphicFramePr>
            <a:graphicFrameLocks noGrp="1"/>
          </p:cNvGraphicFramePr>
          <p:nvPr>
            <p:extLst>
              <p:ext uri="{D42A27DB-BD31-4B8C-83A1-F6EECF244321}">
                <p14:modId xmlns:p14="http://schemas.microsoft.com/office/powerpoint/2010/main" val="1744466988"/>
              </p:ext>
            </p:extLst>
          </p:nvPr>
        </p:nvGraphicFramePr>
        <p:xfrm>
          <a:off x="952500" y="3632761"/>
          <a:ext cx="10236200" cy="2618878"/>
        </p:xfrm>
        <a:graphic>
          <a:graphicData uri="http://schemas.openxmlformats.org/drawingml/2006/table">
            <a:tbl>
              <a:tblPr firstRow="1" firstCol="1" bandRow="1">
                <a:tableStyleId>{2D5ABB26-0587-4C30-8999-92F81FD0307C}</a:tableStyleId>
              </a:tblPr>
              <a:tblGrid>
                <a:gridCol w="6197513">
                  <a:extLst>
                    <a:ext uri="{9D8B030D-6E8A-4147-A177-3AD203B41FA5}">
                      <a16:colId xmlns:a16="http://schemas.microsoft.com/office/drawing/2014/main" val="3675597068"/>
                    </a:ext>
                  </a:extLst>
                </a:gridCol>
                <a:gridCol w="1095232">
                  <a:extLst>
                    <a:ext uri="{9D8B030D-6E8A-4147-A177-3AD203B41FA5}">
                      <a16:colId xmlns:a16="http://schemas.microsoft.com/office/drawing/2014/main" val="426608198"/>
                    </a:ext>
                  </a:extLst>
                </a:gridCol>
                <a:gridCol w="1345946">
                  <a:extLst>
                    <a:ext uri="{9D8B030D-6E8A-4147-A177-3AD203B41FA5}">
                      <a16:colId xmlns:a16="http://schemas.microsoft.com/office/drawing/2014/main" val="3005009667"/>
                    </a:ext>
                  </a:extLst>
                </a:gridCol>
                <a:gridCol w="1597509">
                  <a:extLst>
                    <a:ext uri="{9D8B030D-6E8A-4147-A177-3AD203B41FA5}">
                      <a16:colId xmlns:a16="http://schemas.microsoft.com/office/drawing/2014/main" val="3475076423"/>
                    </a:ext>
                  </a:extLst>
                </a:gridCol>
              </a:tblGrid>
              <a:tr h="156441">
                <a:tc>
                  <a:txBody>
                    <a:bodyPr/>
                    <a:lstStyle/>
                    <a:p>
                      <a:pPr algn="ctr" fontAlgn="base">
                        <a:lnSpc>
                          <a:spcPct val="107000"/>
                        </a:lnSpc>
                      </a:pPr>
                      <a:r>
                        <a:rPr lang="es-CL" sz="1800" b="1" kern="100">
                          <a:solidFill>
                            <a:schemeClr val="bg1"/>
                          </a:solidFill>
                          <a:effectLst/>
                        </a:rPr>
                        <a:t>Ley</a:t>
                      </a:r>
                      <a:endParaRPr lang="es-CL" sz="1800" b="1" kern="10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nchor="ctr">
                    <a:solidFill>
                      <a:srgbClr val="1F4E79"/>
                    </a:solidFill>
                  </a:tcPr>
                </a:tc>
                <a:tc>
                  <a:txBody>
                    <a:bodyPr/>
                    <a:lstStyle/>
                    <a:p>
                      <a:pPr algn="ctr" fontAlgn="base">
                        <a:lnSpc>
                          <a:spcPct val="107000"/>
                        </a:lnSpc>
                      </a:pPr>
                      <a:r>
                        <a:rPr lang="es-CL" sz="1800" b="1" kern="100">
                          <a:solidFill>
                            <a:schemeClr val="bg1"/>
                          </a:solidFill>
                          <a:effectLst/>
                        </a:rPr>
                        <a:t>2024 </a:t>
                      </a:r>
                      <a:endParaRPr lang="es-CL" sz="1800" b="1" kern="10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nchor="b">
                    <a:solidFill>
                      <a:srgbClr val="1F4E79"/>
                    </a:solidFill>
                  </a:tcPr>
                </a:tc>
                <a:tc>
                  <a:txBody>
                    <a:bodyPr/>
                    <a:lstStyle/>
                    <a:p>
                      <a:pPr algn="ctr" fontAlgn="base">
                        <a:lnSpc>
                          <a:spcPct val="107000"/>
                        </a:lnSpc>
                      </a:pPr>
                      <a:r>
                        <a:rPr lang="es-CL" sz="1800" b="1" kern="100">
                          <a:solidFill>
                            <a:schemeClr val="bg1"/>
                          </a:solidFill>
                          <a:effectLst/>
                        </a:rPr>
                        <a:t>2025 </a:t>
                      </a:r>
                      <a:endParaRPr lang="es-CL" sz="1800" b="1" kern="10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nchor="b">
                    <a:solidFill>
                      <a:srgbClr val="1F4E79"/>
                    </a:solidFill>
                  </a:tcPr>
                </a:tc>
                <a:tc>
                  <a:txBody>
                    <a:bodyPr/>
                    <a:lstStyle/>
                    <a:p>
                      <a:pPr algn="ctr" fontAlgn="base">
                        <a:lnSpc>
                          <a:spcPct val="107000"/>
                        </a:lnSpc>
                      </a:pPr>
                      <a:r>
                        <a:rPr lang="es-CL" sz="1800" b="1" kern="100">
                          <a:solidFill>
                            <a:schemeClr val="bg1"/>
                          </a:solidFill>
                          <a:effectLst/>
                        </a:rPr>
                        <a:t>Total</a:t>
                      </a:r>
                      <a:endParaRPr lang="es-CL" sz="1800" b="1" kern="100">
                        <a:solidFill>
                          <a:schemeClr val="bg1"/>
                        </a:solidFill>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0" marR="0" marT="0" marB="0" anchor="b">
                    <a:solidFill>
                      <a:srgbClr val="1F4E79"/>
                    </a:solidFill>
                  </a:tcPr>
                </a:tc>
                <a:extLst>
                  <a:ext uri="{0D108BD9-81ED-4DB2-BD59-A6C34878D82A}">
                    <a16:rowId xmlns:a16="http://schemas.microsoft.com/office/drawing/2014/main" val="4084820087"/>
                  </a:ext>
                </a:extLst>
              </a:tr>
              <a:tr h="190500">
                <a:tc>
                  <a:txBody>
                    <a:bodyPr/>
                    <a:lstStyle/>
                    <a:p>
                      <a:pPr algn="l" fontAlgn="base">
                        <a:lnSpc>
                          <a:spcPct val="107000"/>
                        </a:lnSpc>
                      </a:pPr>
                      <a:r>
                        <a:rPr lang="es-CL" sz="1600" kern="100">
                          <a:solidFill>
                            <a:srgbClr val="1F4E79"/>
                          </a:solidFill>
                          <a:effectLst/>
                          <a:latin typeface="gobCL" pitchFamily="50" charset="0"/>
                        </a:rPr>
                        <a:t>Ley N°20.919 (APS)</a:t>
                      </a:r>
                      <a:endParaRPr lang="es-CL" sz="1600" kern="100">
                        <a:solidFill>
                          <a:srgbClr val="1F4E79"/>
                        </a:solidFill>
                        <a:effectLst/>
                        <a:latin typeface="gobCL" pitchFamily="50" charset="0"/>
                        <a:ea typeface="Times New Roman" panose="02020603050405020304" pitchFamily="18" charset="0"/>
                        <a:cs typeface="Times New Roman" panose="02020603050405020304" pitchFamily="18" charset="0"/>
                      </a:endParaRPr>
                    </a:p>
                  </a:txBody>
                  <a:tcPr marL="0" marR="0" marT="0" marB="0" anchor="b"/>
                </a:tc>
                <a:tc>
                  <a:txBody>
                    <a:bodyPr/>
                    <a:lstStyle/>
                    <a:p>
                      <a:pPr algn="r" fontAlgn="base">
                        <a:lnSpc>
                          <a:spcPct val="107000"/>
                        </a:lnSpc>
                      </a:pPr>
                      <a:r>
                        <a:rPr lang="es-CL" sz="1600" kern="100">
                          <a:solidFill>
                            <a:srgbClr val="1F4E79"/>
                          </a:solidFill>
                          <a:effectLst/>
                          <a:latin typeface="gobCL" pitchFamily="50" charset="0"/>
                        </a:rPr>
                        <a:t>1.000 </a:t>
                      </a:r>
                      <a:endParaRPr lang="es-CL" sz="1600" kern="100">
                        <a:solidFill>
                          <a:srgbClr val="1F4E79"/>
                        </a:solidFill>
                        <a:effectLst/>
                        <a:latin typeface="gobCL" pitchFamily="50" charset="0"/>
                        <a:ea typeface="Times New Roman" panose="02020603050405020304" pitchFamily="18" charset="0"/>
                        <a:cs typeface="Times New Roman" panose="02020603050405020304" pitchFamily="18" charset="0"/>
                      </a:endParaRPr>
                    </a:p>
                  </a:txBody>
                  <a:tcPr marL="0" marR="0" marT="0" marB="0" anchor="b"/>
                </a:tc>
                <a:tc>
                  <a:txBody>
                    <a:bodyPr/>
                    <a:lstStyle/>
                    <a:p>
                      <a:pPr algn="r" fontAlgn="base">
                        <a:lnSpc>
                          <a:spcPct val="107000"/>
                        </a:lnSpc>
                      </a:pPr>
                      <a:r>
                        <a:rPr lang="es-CL" sz="1600" kern="100">
                          <a:solidFill>
                            <a:srgbClr val="1F4E79"/>
                          </a:solidFill>
                          <a:effectLst/>
                          <a:latin typeface="gobCL" pitchFamily="50" charset="0"/>
                        </a:rPr>
                        <a:t>3.300 </a:t>
                      </a:r>
                      <a:endParaRPr lang="es-CL" sz="1600" kern="100">
                        <a:solidFill>
                          <a:srgbClr val="1F4E79"/>
                        </a:solidFill>
                        <a:effectLst/>
                        <a:latin typeface="gobCL" pitchFamily="50" charset="0"/>
                        <a:ea typeface="Times New Roman" panose="02020603050405020304" pitchFamily="18" charset="0"/>
                        <a:cs typeface="Times New Roman" panose="02020603050405020304" pitchFamily="18" charset="0"/>
                      </a:endParaRPr>
                    </a:p>
                  </a:txBody>
                  <a:tcPr marL="0" marR="0" marT="0" marB="0" anchor="b"/>
                </a:tc>
                <a:tc>
                  <a:txBody>
                    <a:bodyPr/>
                    <a:lstStyle/>
                    <a:p>
                      <a:pPr algn="r" fontAlgn="base">
                        <a:lnSpc>
                          <a:spcPct val="107000"/>
                        </a:lnSpc>
                      </a:pPr>
                      <a:r>
                        <a:rPr lang="es-CL" sz="1600" kern="100">
                          <a:solidFill>
                            <a:srgbClr val="1F4E79"/>
                          </a:solidFill>
                          <a:effectLst/>
                          <a:latin typeface="gobCL" pitchFamily="50" charset="0"/>
                        </a:rPr>
                        <a:t>4.300 </a:t>
                      </a:r>
                      <a:endParaRPr lang="es-CL" sz="1600" kern="100">
                        <a:solidFill>
                          <a:srgbClr val="1F4E79"/>
                        </a:solidFill>
                        <a:effectLst/>
                        <a:latin typeface="gobCL" pitchFamily="50" charset="0"/>
                        <a:ea typeface="Times New Roman" panose="02020603050405020304" pitchFamily="18" charset="0"/>
                        <a:cs typeface="Times New Roman" panose="02020603050405020304" pitchFamily="18" charset="0"/>
                      </a:endParaRPr>
                    </a:p>
                  </a:txBody>
                  <a:tcPr marL="0" marR="0" marT="0" marB="0" anchor="b"/>
                </a:tc>
                <a:extLst>
                  <a:ext uri="{0D108BD9-81ED-4DB2-BD59-A6C34878D82A}">
                    <a16:rowId xmlns:a16="http://schemas.microsoft.com/office/drawing/2014/main" val="2601920084"/>
                  </a:ext>
                </a:extLst>
              </a:tr>
              <a:tr h="190500">
                <a:tc>
                  <a:txBody>
                    <a:bodyPr/>
                    <a:lstStyle/>
                    <a:p>
                      <a:pPr algn="l" fontAlgn="base">
                        <a:lnSpc>
                          <a:spcPct val="107000"/>
                        </a:lnSpc>
                      </a:pPr>
                      <a:r>
                        <a:rPr lang="es-CL" sz="1600" kern="100">
                          <a:solidFill>
                            <a:srgbClr val="1F4E79"/>
                          </a:solidFill>
                          <a:effectLst/>
                          <a:latin typeface="gobCL" pitchFamily="50" charset="0"/>
                        </a:rPr>
                        <a:t>Ley N°20.921 (Servicios de Salud)</a:t>
                      </a:r>
                      <a:endParaRPr lang="es-CL" sz="1600" kern="100">
                        <a:solidFill>
                          <a:srgbClr val="1F4E79"/>
                        </a:solidFill>
                        <a:effectLst/>
                        <a:latin typeface="gobCL" pitchFamily="50" charset="0"/>
                        <a:ea typeface="Times New Roman" panose="02020603050405020304" pitchFamily="18" charset="0"/>
                        <a:cs typeface="Times New Roman" panose="02020603050405020304" pitchFamily="18" charset="0"/>
                      </a:endParaRPr>
                    </a:p>
                  </a:txBody>
                  <a:tcPr marL="0" marR="0" marT="0" marB="0" anchor="b"/>
                </a:tc>
                <a:tc>
                  <a:txBody>
                    <a:bodyPr/>
                    <a:lstStyle/>
                    <a:p>
                      <a:pPr algn="r" fontAlgn="base">
                        <a:lnSpc>
                          <a:spcPct val="107000"/>
                        </a:lnSpc>
                      </a:pPr>
                      <a:r>
                        <a:rPr lang="es-CL" sz="1600" kern="100">
                          <a:solidFill>
                            <a:srgbClr val="1F4E79"/>
                          </a:solidFill>
                          <a:effectLst/>
                          <a:latin typeface="gobCL" pitchFamily="50" charset="0"/>
                        </a:rPr>
                        <a:t>0 </a:t>
                      </a:r>
                      <a:endParaRPr lang="es-CL" sz="1600" kern="100">
                        <a:solidFill>
                          <a:srgbClr val="1F4E79"/>
                        </a:solidFill>
                        <a:effectLst/>
                        <a:latin typeface="gobCL" pitchFamily="50" charset="0"/>
                        <a:ea typeface="Times New Roman" panose="02020603050405020304" pitchFamily="18" charset="0"/>
                        <a:cs typeface="Times New Roman" panose="02020603050405020304" pitchFamily="18" charset="0"/>
                      </a:endParaRPr>
                    </a:p>
                  </a:txBody>
                  <a:tcPr marL="0" marR="0" marT="0" marB="0" anchor="b"/>
                </a:tc>
                <a:tc>
                  <a:txBody>
                    <a:bodyPr/>
                    <a:lstStyle/>
                    <a:p>
                      <a:pPr algn="r" fontAlgn="base">
                        <a:lnSpc>
                          <a:spcPct val="107000"/>
                        </a:lnSpc>
                      </a:pPr>
                      <a:r>
                        <a:rPr lang="es-CL" sz="1600" kern="100">
                          <a:solidFill>
                            <a:srgbClr val="1F4E79"/>
                          </a:solidFill>
                          <a:effectLst/>
                          <a:latin typeface="gobCL" pitchFamily="50" charset="0"/>
                        </a:rPr>
                        <a:t>2.250 </a:t>
                      </a:r>
                      <a:endParaRPr lang="es-CL" sz="1600" kern="100">
                        <a:solidFill>
                          <a:srgbClr val="1F4E79"/>
                        </a:solidFill>
                        <a:effectLst/>
                        <a:latin typeface="gobCL" pitchFamily="50" charset="0"/>
                        <a:ea typeface="Times New Roman" panose="02020603050405020304" pitchFamily="18" charset="0"/>
                        <a:cs typeface="Times New Roman" panose="02020603050405020304" pitchFamily="18" charset="0"/>
                      </a:endParaRPr>
                    </a:p>
                  </a:txBody>
                  <a:tcPr marL="0" marR="0" marT="0" marB="0" anchor="b"/>
                </a:tc>
                <a:tc>
                  <a:txBody>
                    <a:bodyPr/>
                    <a:lstStyle/>
                    <a:p>
                      <a:pPr algn="r" fontAlgn="base">
                        <a:lnSpc>
                          <a:spcPct val="107000"/>
                        </a:lnSpc>
                      </a:pPr>
                      <a:r>
                        <a:rPr lang="es-CL" sz="1600" kern="100">
                          <a:solidFill>
                            <a:srgbClr val="1F4E79"/>
                          </a:solidFill>
                          <a:effectLst/>
                          <a:latin typeface="gobCL" pitchFamily="50" charset="0"/>
                        </a:rPr>
                        <a:t>2.250 </a:t>
                      </a:r>
                      <a:endParaRPr lang="es-CL" sz="1600" kern="100">
                        <a:solidFill>
                          <a:srgbClr val="1F4E79"/>
                        </a:solidFill>
                        <a:effectLst/>
                        <a:latin typeface="gobCL" pitchFamily="50" charset="0"/>
                        <a:ea typeface="Times New Roman" panose="02020603050405020304" pitchFamily="18" charset="0"/>
                        <a:cs typeface="Times New Roman" panose="02020603050405020304" pitchFamily="18" charset="0"/>
                      </a:endParaRPr>
                    </a:p>
                  </a:txBody>
                  <a:tcPr marL="0" marR="0" marT="0" marB="0" anchor="b"/>
                </a:tc>
                <a:extLst>
                  <a:ext uri="{0D108BD9-81ED-4DB2-BD59-A6C34878D82A}">
                    <a16:rowId xmlns:a16="http://schemas.microsoft.com/office/drawing/2014/main" val="1905099586"/>
                  </a:ext>
                </a:extLst>
              </a:tr>
              <a:tr h="190500">
                <a:tc>
                  <a:txBody>
                    <a:bodyPr/>
                    <a:lstStyle/>
                    <a:p>
                      <a:pPr algn="l" fontAlgn="base">
                        <a:lnSpc>
                          <a:spcPct val="107000"/>
                        </a:lnSpc>
                      </a:pPr>
                      <a:r>
                        <a:rPr lang="es-CL" sz="1600" kern="100">
                          <a:solidFill>
                            <a:srgbClr val="1F4E79"/>
                          </a:solidFill>
                          <a:effectLst/>
                          <a:latin typeface="gobCL" pitchFamily="50" charset="0"/>
                        </a:rPr>
                        <a:t>Ley N°20.964 (AAEE)</a:t>
                      </a:r>
                      <a:endParaRPr lang="es-CL" sz="1600" kern="100">
                        <a:solidFill>
                          <a:srgbClr val="1F4E79"/>
                        </a:solidFill>
                        <a:effectLst/>
                        <a:latin typeface="gobCL" pitchFamily="50" charset="0"/>
                        <a:ea typeface="Times New Roman" panose="02020603050405020304" pitchFamily="18" charset="0"/>
                        <a:cs typeface="Times New Roman" panose="02020603050405020304" pitchFamily="18" charset="0"/>
                      </a:endParaRPr>
                    </a:p>
                  </a:txBody>
                  <a:tcPr marL="0" marR="0" marT="0" marB="0" anchor="b"/>
                </a:tc>
                <a:tc>
                  <a:txBody>
                    <a:bodyPr/>
                    <a:lstStyle/>
                    <a:p>
                      <a:pPr algn="r" fontAlgn="base">
                        <a:lnSpc>
                          <a:spcPct val="107000"/>
                        </a:lnSpc>
                      </a:pPr>
                      <a:r>
                        <a:rPr lang="es-CL" sz="1600" kern="100">
                          <a:solidFill>
                            <a:srgbClr val="1F4E79"/>
                          </a:solidFill>
                          <a:effectLst/>
                          <a:latin typeface="gobCL" pitchFamily="50" charset="0"/>
                        </a:rPr>
                        <a:t>1.000 </a:t>
                      </a:r>
                      <a:endParaRPr lang="es-CL" sz="1600" kern="100">
                        <a:solidFill>
                          <a:srgbClr val="1F4E79"/>
                        </a:solidFill>
                        <a:effectLst/>
                        <a:latin typeface="gobCL" pitchFamily="50" charset="0"/>
                        <a:ea typeface="Times New Roman" panose="02020603050405020304" pitchFamily="18" charset="0"/>
                        <a:cs typeface="Times New Roman" panose="02020603050405020304" pitchFamily="18" charset="0"/>
                      </a:endParaRPr>
                    </a:p>
                  </a:txBody>
                  <a:tcPr marL="0" marR="0" marT="0" marB="0" anchor="b"/>
                </a:tc>
                <a:tc>
                  <a:txBody>
                    <a:bodyPr/>
                    <a:lstStyle/>
                    <a:p>
                      <a:pPr algn="r" fontAlgn="base">
                        <a:lnSpc>
                          <a:spcPct val="107000"/>
                        </a:lnSpc>
                      </a:pPr>
                      <a:r>
                        <a:rPr lang="es-CL" sz="1600" kern="100">
                          <a:solidFill>
                            <a:srgbClr val="1F4E79"/>
                          </a:solidFill>
                          <a:effectLst/>
                          <a:latin typeface="gobCL" pitchFamily="50" charset="0"/>
                        </a:rPr>
                        <a:t>2.000 </a:t>
                      </a:r>
                      <a:endParaRPr lang="es-CL" sz="1600" kern="100">
                        <a:solidFill>
                          <a:srgbClr val="1F4E79"/>
                        </a:solidFill>
                        <a:effectLst/>
                        <a:latin typeface="gobCL" pitchFamily="50" charset="0"/>
                        <a:ea typeface="Times New Roman" panose="02020603050405020304" pitchFamily="18" charset="0"/>
                        <a:cs typeface="Times New Roman" panose="02020603050405020304" pitchFamily="18" charset="0"/>
                      </a:endParaRPr>
                    </a:p>
                  </a:txBody>
                  <a:tcPr marL="0" marR="0" marT="0" marB="0" anchor="b"/>
                </a:tc>
                <a:tc>
                  <a:txBody>
                    <a:bodyPr/>
                    <a:lstStyle/>
                    <a:p>
                      <a:pPr algn="r" fontAlgn="base">
                        <a:lnSpc>
                          <a:spcPct val="107000"/>
                        </a:lnSpc>
                      </a:pPr>
                      <a:r>
                        <a:rPr lang="es-CL" sz="1600" kern="100">
                          <a:solidFill>
                            <a:srgbClr val="1F4E79"/>
                          </a:solidFill>
                          <a:effectLst/>
                          <a:latin typeface="gobCL" pitchFamily="50" charset="0"/>
                        </a:rPr>
                        <a:t>3.000 </a:t>
                      </a:r>
                      <a:endParaRPr lang="es-CL" sz="1600" kern="100">
                        <a:solidFill>
                          <a:srgbClr val="1F4E79"/>
                        </a:solidFill>
                        <a:effectLst/>
                        <a:latin typeface="gobCL" pitchFamily="50" charset="0"/>
                        <a:ea typeface="Times New Roman" panose="02020603050405020304" pitchFamily="18" charset="0"/>
                        <a:cs typeface="Times New Roman" panose="02020603050405020304" pitchFamily="18" charset="0"/>
                      </a:endParaRPr>
                    </a:p>
                  </a:txBody>
                  <a:tcPr marL="0" marR="0" marT="0" marB="0" anchor="b"/>
                </a:tc>
                <a:extLst>
                  <a:ext uri="{0D108BD9-81ED-4DB2-BD59-A6C34878D82A}">
                    <a16:rowId xmlns:a16="http://schemas.microsoft.com/office/drawing/2014/main" val="2417760211"/>
                  </a:ext>
                </a:extLst>
              </a:tr>
              <a:tr h="190500">
                <a:tc>
                  <a:txBody>
                    <a:bodyPr/>
                    <a:lstStyle/>
                    <a:p>
                      <a:pPr algn="l" fontAlgn="base">
                        <a:lnSpc>
                          <a:spcPct val="107000"/>
                        </a:lnSpc>
                      </a:pPr>
                      <a:r>
                        <a:rPr lang="es-CL" sz="1600" kern="100">
                          <a:solidFill>
                            <a:srgbClr val="1F4E79"/>
                          </a:solidFill>
                          <a:effectLst/>
                          <a:latin typeface="gobCL" pitchFamily="50" charset="0"/>
                        </a:rPr>
                        <a:t>Ley N°20.976 (Docentes)</a:t>
                      </a:r>
                      <a:endParaRPr lang="es-CL" sz="1600" kern="100">
                        <a:solidFill>
                          <a:srgbClr val="1F4E79"/>
                        </a:solidFill>
                        <a:effectLst/>
                        <a:latin typeface="gobCL" pitchFamily="50" charset="0"/>
                        <a:ea typeface="Times New Roman" panose="02020603050405020304" pitchFamily="18" charset="0"/>
                        <a:cs typeface="Times New Roman" panose="02020603050405020304" pitchFamily="18" charset="0"/>
                      </a:endParaRPr>
                    </a:p>
                  </a:txBody>
                  <a:tcPr marL="0" marR="0" marT="0" marB="0" anchor="b"/>
                </a:tc>
                <a:tc>
                  <a:txBody>
                    <a:bodyPr/>
                    <a:lstStyle/>
                    <a:p>
                      <a:pPr algn="r" fontAlgn="base">
                        <a:lnSpc>
                          <a:spcPct val="107000"/>
                        </a:lnSpc>
                      </a:pPr>
                      <a:r>
                        <a:rPr lang="es-CL" sz="1600" kern="100">
                          <a:solidFill>
                            <a:srgbClr val="1F4E79"/>
                          </a:solidFill>
                          <a:effectLst/>
                          <a:latin typeface="gobCL" pitchFamily="50" charset="0"/>
                        </a:rPr>
                        <a:t>700 </a:t>
                      </a:r>
                      <a:endParaRPr lang="es-CL" sz="1600" kern="100">
                        <a:solidFill>
                          <a:srgbClr val="1F4E79"/>
                        </a:solidFill>
                        <a:effectLst/>
                        <a:latin typeface="gobCL" pitchFamily="50" charset="0"/>
                        <a:ea typeface="Times New Roman" panose="02020603050405020304" pitchFamily="18" charset="0"/>
                        <a:cs typeface="Times New Roman" panose="02020603050405020304" pitchFamily="18" charset="0"/>
                      </a:endParaRPr>
                    </a:p>
                  </a:txBody>
                  <a:tcPr marL="0" marR="0" marT="0" marB="0" anchor="b"/>
                </a:tc>
                <a:tc>
                  <a:txBody>
                    <a:bodyPr/>
                    <a:lstStyle/>
                    <a:p>
                      <a:pPr algn="r" fontAlgn="base">
                        <a:lnSpc>
                          <a:spcPct val="107000"/>
                        </a:lnSpc>
                      </a:pPr>
                      <a:r>
                        <a:rPr lang="es-CL" sz="1600" kern="100">
                          <a:solidFill>
                            <a:srgbClr val="1F4E79"/>
                          </a:solidFill>
                          <a:effectLst/>
                          <a:latin typeface="gobCL" pitchFamily="50" charset="0"/>
                        </a:rPr>
                        <a:t>3.800 </a:t>
                      </a:r>
                      <a:endParaRPr lang="es-CL" sz="1600" kern="100">
                        <a:solidFill>
                          <a:srgbClr val="1F4E79"/>
                        </a:solidFill>
                        <a:effectLst/>
                        <a:latin typeface="gobCL" pitchFamily="50" charset="0"/>
                        <a:ea typeface="Times New Roman" panose="02020603050405020304" pitchFamily="18" charset="0"/>
                        <a:cs typeface="Times New Roman" panose="02020603050405020304" pitchFamily="18" charset="0"/>
                      </a:endParaRPr>
                    </a:p>
                  </a:txBody>
                  <a:tcPr marL="0" marR="0" marT="0" marB="0" anchor="b"/>
                </a:tc>
                <a:tc>
                  <a:txBody>
                    <a:bodyPr/>
                    <a:lstStyle/>
                    <a:p>
                      <a:pPr algn="r" fontAlgn="base">
                        <a:lnSpc>
                          <a:spcPct val="107000"/>
                        </a:lnSpc>
                      </a:pPr>
                      <a:r>
                        <a:rPr lang="es-CL" sz="1600" kern="100">
                          <a:solidFill>
                            <a:srgbClr val="1F4E79"/>
                          </a:solidFill>
                          <a:effectLst/>
                          <a:latin typeface="gobCL" pitchFamily="50" charset="0"/>
                        </a:rPr>
                        <a:t>4.500 </a:t>
                      </a:r>
                      <a:endParaRPr lang="es-CL" sz="1600" kern="100">
                        <a:solidFill>
                          <a:srgbClr val="1F4E79"/>
                        </a:solidFill>
                        <a:effectLst/>
                        <a:latin typeface="gobCL" pitchFamily="50" charset="0"/>
                        <a:ea typeface="Times New Roman" panose="02020603050405020304" pitchFamily="18" charset="0"/>
                        <a:cs typeface="Times New Roman" panose="02020603050405020304" pitchFamily="18" charset="0"/>
                      </a:endParaRPr>
                    </a:p>
                  </a:txBody>
                  <a:tcPr marL="0" marR="0" marT="0" marB="0" anchor="b"/>
                </a:tc>
                <a:extLst>
                  <a:ext uri="{0D108BD9-81ED-4DB2-BD59-A6C34878D82A}">
                    <a16:rowId xmlns:a16="http://schemas.microsoft.com/office/drawing/2014/main" val="3468860551"/>
                  </a:ext>
                </a:extLst>
              </a:tr>
              <a:tr h="190500">
                <a:tc>
                  <a:txBody>
                    <a:bodyPr/>
                    <a:lstStyle/>
                    <a:p>
                      <a:pPr algn="l" fontAlgn="base">
                        <a:lnSpc>
                          <a:spcPct val="107000"/>
                        </a:lnSpc>
                      </a:pPr>
                      <a:r>
                        <a:rPr lang="es-CL" sz="1600" kern="100">
                          <a:solidFill>
                            <a:srgbClr val="1F4E79"/>
                          </a:solidFill>
                          <a:effectLst/>
                          <a:latin typeface="gobCL" pitchFamily="50" charset="0"/>
                        </a:rPr>
                        <a:t>Ley N°20.996 (No Acad. Ues. Estatales)</a:t>
                      </a:r>
                      <a:endParaRPr lang="es-CL" sz="1600" kern="100">
                        <a:solidFill>
                          <a:srgbClr val="1F4E79"/>
                        </a:solidFill>
                        <a:effectLst/>
                        <a:latin typeface="gobCL" pitchFamily="50" charset="0"/>
                        <a:ea typeface="Times New Roman" panose="02020603050405020304" pitchFamily="18" charset="0"/>
                        <a:cs typeface="Times New Roman" panose="02020603050405020304" pitchFamily="18" charset="0"/>
                      </a:endParaRPr>
                    </a:p>
                  </a:txBody>
                  <a:tcPr marL="0" marR="0" marT="0" marB="0" anchor="b"/>
                </a:tc>
                <a:tc>
                  <a:txBody>
                    <a:bodyPr/>
                    <a:lstStyle/>
                    <a:p>
                      <a:pPr algn="r" fontAlgn="base">
                        <a:lnSpc>
                          <a:spcPct val="107000"/>
                        </a:lnSpc>
                      </a:pPr>
                      <a:r>
                        <a:rPr lang="es-CL" sz="1600" kern="100">
                          <a:solidFill>
                            <a:srgbClr val="1F4E79"/>
                          </a:solidFill>
                          <a:effectLst/>
                          <a:latin typeface="gobCL" pitchFamily="50" charset="0"/>
                        </a:rPr>
                        <a:t>50 </a:t>
                      </a:r>
                      <a:endParaRPr lang="es-CL" sz="1600" kern="100">
                        <a:solidFill>
                          <a:srgbClr val="1F4E79"/>
                        </a:solidFill>
                        <a:effectLst/>
                        <a:latin typeface="gobCL" pitchFamily="50" charset="0"/>
                        <a:ea typeface="Times New Roman" panose="02020603050405020304" pitchFamily="18" charset="0"/>
                        <a:cs typeface="Times New Roman" panose="02020603050405020304" pitchFamily="18" charset="0"/>
                      </a:endParaRPr>
                    </a:p>
                  </a:txBody>
                  <a:tcPr marL="0" marR="0" marT="0" marB="0" anchor="b"/>
                </a:tc>
                <a:tc>
                  <a:txBody>
                    <a:bodyPr/>
                    <a:lstStyle/>
                    <a:p>
                      <a:pPr algn="r" fontAlgn="base">
                        <a:lnSpc>
                          <a:spcPct val="107000"/>
                        </a:lnSpc>
                      </a:pPr>
                      <a:r>
                        <a:rPr lang="es-CL" sz="1600" kern="100">
                          <a:solidFill>
                            <a:srgbClr val="1F4E79"/>
                          </a:solidFill>
                          <a:effectLst/>
                          <a:latin typeface="gobCL" pitchFamily="50" charset="0"/>
                        </a:rPr>
                        <a:t>500 </a:t>
                      </a:r>
                      <a:endParaRPr lang="es-CL" sz="1600" kern="100">
                        <a:solidFill>
                          <a:srgbClr val="1F4E79"/>
                        </a:solidFill>
                        <a:effectLst/>
                        <a:latin typeface="gobCL" pitchFamily="50" charset="0"/>
                        <a:ea typeface="Times New Roman" panose="02020603050405020304" pitchFamily="18" charset="0"/>
                        <a:cs typeface="Times New Roman" panose="02020603050405020304" pitchFamily="18" charset="0"/>
                      </a:endParaRPr>
                    </a:p>
                  </a:txBody>
                  <a:tcPr marL="0" marR="0" marT="0" marB="0" anchor="b"/>
                </a:tc>
                <a:tc>
                  <a:txBody>
                    <a:bodyPr/>
                    <a:lstStyle/>
                    <a:p>
                      <a:pPr algn="r" fontAlgn="base">
                        <a:lnSpc>
                          <a:spcPct val="107000"/>
                        </a:lnSpc>
                      </a:pPr>
                      <a:r>
                        <a:rPr lang="es-CL" sz="1600" kern="100">
                          <a:solidFill>
                            <a:srgbClr val="1F4E79"/>
                          </a:solidFill>
                          <a:effectLst/>
                          <a:latin typeface="gobCL" pitchFamily="50" charset="0"/>
                        </a:rPr>
                        <a:t>550 </a:t>
                      </a:r>
                      <a:endParaRPr lang="es-CL" sz="1600" kern="100">
                        <a:solidFill>
                          <a:srgbClr val="1F4E79"/>
                        </a:solidFill>
                        <a:effectLst/>
                        <a:latin typeface="gobCL" pitchFamily="50" charset="0"/>
                        <a:ea typeface="Times New Roman" panose="02020603050405020304" pitchFamily="18" charset="0"/>
                        <a:cs typeface="Times New Roman" panose="02020603050405020304" pitchFamily="18" charset="0"/>
                      </a:endParaRPr>
                    </a:p>
                  </a:txBody>
                  <a:tcPr marL="0" marR="0" marT="0" marB="0" anchor="b"/>
                </a:tc>
                <a:extLst>
                  <a:ext uri="{0D108BD9-81ED-4DB2-BD59-A6C34878D82A}">
                    <a16:rowId xmlns:a16="http://schemas.microsoft.com/office/drawing/2014/main" val="1771922655"/>
                  </a:ext>
                </a:extLst>
              </a:tr>
              <a:tr h="190500">
                <a:tc>
                  <a:txBody>
                    <a:bodyPr/>
                    <a:lstStyle/>
                    <a:p>
                      <a:pPr algn="l" fontAlgn="base">
                        <a:lnSpc>
                          <a:spcPct val="107000"/>
                        </a:lnSpc>
                      </a:pPr>
                      <a:r>
                        <a:rPr lang="es-CL" sz="1600" kern="100">
                          <a:solidFill>
                            <a:srgbClr val="1F4E79"/>
                          </a:solidFill>
                          <a:effectLst/>
                          <a:latin typeface="gobCL" pitchFamily="50" charset="0"/>
                        </a:rPr>
                        <a:t>Ley N°21.043 (Acad. Ues. Estatales)</a:t>
                      </a:r>
                      <a:endParaRPr lang="es-CL" sz="1600" kern="100">
                        <a:solidFill>
                          <a:srgbClr val="1F4E79"/>
                        </a:solidFill>
                        <a:effectLst/>
                        <a:latin typeface="gobCL" pitchFamily="50" charset="0"/>
                        <a:ea typeface="Times New Roman" panose="02020603050405020304" pitchFamily="18" charset="0"/>
                        <a:cs typeface="Times New Roman" panose="02020603050405020304" pitchFamily="18" charset="0"/>
                      </a:endParaRPr>
                    </a:p>
                  </a:txBody>
                  <a:tcPr marL="0" marR="0" marT="0" marB="0" anchor="b"/>
                </a:tc>
                <a:tc>
                  <a:txBody>
                    <a:bodyPr/>
                    <a:lstStyle/>
                    <a:p>
                      <a:pPr algn="r" fontAlgn="base">
                        <a:lnSpc>
                          <a:spcPct val="107000"/>
                        </a:lnSpc>
                      </a:pPr>
                      <a:r>
                        <a:rPr lang="es-CL" sz="1600" kern="100">
                          <a:solidFill>
                            <a:srgbClr val="1F4E79"/>
                          </a:solidFill>
                          <a:effectLst/>
                          <a:latin typeface="gobCL" pitchFamily="50" charset="0"/>
                        </a:rPr>
                        <a:t>0 </a:t>
                      </a:r>
                      <a:endParaRPr lang="es-CL" sz="1600" kern="100">
                        <a:solidFill>
                          <a:srgbClr val="1F4E79"/>
                        </a:solidFill>
                        <a:effectLst/>
                        <a:latin typeface="gobCL" pitchFamily="50" charset="0"/>
                        <a:ea typeface="Times New Roman" panose="02020603050405020304" pitchFamily="18" charset="0"/>
                        <a:cs typeface="Times New Roman" panose="02020603050405020304" pitchFamily="18" charset="0"/>
                      </a:endParaRPr>
                    </a:p>
                  </a:txBody>
                  <a:tcPr marL="0" marR="0" marT="0" marB="0" anchor="b"/>
                </a:tc>
                <a:tc>
                  <a:txBody>
                    <a:bodyPr/>
                    <a:lstStyle/>
                    <a:p>
                      <a:pPr algn="r" fontAlgn="base">
                        <a:lnSpc>
                          <a:spcPct val="107000"/>
                        </a:lnSpc>
                      </a:pPr>
                      <a:r>
                        <a:rPr lang="es-CL" sz="1600" kern="100">
                          <a:solidFill>
                            <a:srgbClr val="1F4E79"/>
                          </a:solidFill>
                          <a:effectLst/>
                          <a:latin typeface="gobCL" pitchFamily="50" charset="0"/>
                        </a:rPr>
                        <a:t>440 </a:t>
                      </a:r>
                      <a:endParaRPr lang="es-CL" sz="1600" kern="100">
                        <a:solidFill>
                          <a:srgbClr val="1F4E79"/>
                        </a:solidFill>
                        <a:effectLst/>
                        <a:latin typeface="gobCL" pitchFamily="50" charset="0"/>
                        <a:ea typeface="Times New Roman" panose="02020603050405020304" pitchFamily="18" charset="0"/>
                        <a:cs typeface="Times New Roman" panose="02020603050405020304" pitchFamily="18" charset="0"/>
                      </a:endParaRPr>
                    </a:p>
                  </a:txBody>
                  <a:tcPr marL="0" marR="0" marT="0" marB="0" anchor="b"/>
                </a:tc>
                <a:tc>
                  <a:txBody>
                    <a:bodyPr/>
                    <a:lstStyle/>
                    <a:p>
                      <a:pPr algn="r" fontAlgn="base">
                        <a:lnSpc>
                          <a:spcPct val="107000"/>
                        </a:lnSpc>
                      </a:pPr>
                      <a:r>
                        <a:rPr lang="es-CL" sz="1600" kern="100">
                          <a:solidFill>
                            <a:srgbClr val="1F4E79"/>
                          </a:solidFill>
                          <a:effectLst/>
                          <a:latin typeface="gobCL" pitchFamily="50" charset="0"/>
                        </a:rPr>
                        <a:t>440 </a:t>
                      </a:r>
                      <a:endParaRPr lang="es-CL" sz="1600" kern="100">
                        <a:solidFill>
                          <a:srgbClr val="1F4E79"/>
                        </a:solidFill>
                        <a:effectLst/>
                        <a:latin typeface="gobCL" pitchFamily="50" charset="0"/>
                        <a:ea typeface="Times New Roman" panose="02020603050405020304" pitchFamily="18" charset="0"/>
                        <a:cs typeface="Times New Roman" panose="02020603050405020304" pitchFamily="18" charset="0"/>
                      </a:endParaRPr>
                    </a:p>
                  </a:txBody>
                  <a:tcPr marL="0" marR="0" marT="0" marB="0" anchor="b"/>
                </a:tc>
                <a:extLst>
                  <a:ext uri="{0D108BD9-81ED-4DB2-BD59-A6C34878D82A}">
                    <a16:rowId xmlns:a16="http://schemas.microsoft.com/office/drawing/2014/main" val="2455671192"/>
                  </a:ext>
                </a:extLst>
              </a:tr>
              <a:tr h="190500">
                <a:tc>
                  <a:txBody>
                    <a:bodyPr/>
                    <a:lstStyle/>
                    <a:p>
                      <a:pPr algn="l" fontAlgn="base">
                        <a:lnSpc>
                          <a:spcPct val="107000"/>
                        </a:lnSpc>
                      </a:pPr>
                      <a:r>
                        <a:rPr lang="es-CL" sz="1600" kern="100">
                          <a:solidFill>
                            <a:srgbClr val="1F4E79"/>
                          </a:solidFill>
                          <a:effectLst/>
                          <a:latin typeface="gobCL" pitchFamily="50" charset="0"/>
                        </a:rPr>
                        <a:t>Ley N°21.135 (Municipales)</a:t>
                      </a:r>
                      <a:endParaRPr lang="es-CL" sz="1600" kern="100">
                        <a:solidFill>
                          <a:srgbClr val="1F4E79"/>
                        </a:solidFill>
                        <a:effectLst/>
                        <a:latin typeface="gobCL" pitchFamily="50" charset="0"/>
                        <a:ea typeface="Times New Roman" panose="02020603050405020304" pitchFamily="18" charset="0"/>
                        <a:cs typeface="Times New Roman" panose="02020603050405020304" pitchFamily="18" charset="0"/>
                      </a:endParaRPr>
                    </a:p>
                  </a:txBody>
                  <a:tcPr marL="0" marR="0" marT="0" marB="0" anchor="b"/>
                </a:tc>
                <a:tc>
                  <a:txBody>
                    <a:bodyPr/>
                    <a:lstStyle/>
                    <a:p>
                      <a:pPr algn="r" fontAlgn="base">
                        <a:lnSpc>
                          <a:spcPct val="107000"/>
                        </a:lnSpc>
                      </a:pPr>
                      <a:r>
                        <a:rPr lang="es-CL" sz="1600" kern="100">
                          <a:solidFill>
                            <a:srgbClr val="1F4E79"/>
                          </a:solidFill>
                          <a:effectLst/>
                          <a:latin typeface="gobCL" pitchFamily="50" charset="0"/>
                        </a:rPr>
                        <a:t>750 </a:t>
                      </a:r>
                      <a:endParaRPr lang="es-CL" sz="1600" kern="100">
                        <a:solidFill>
                          <a:srgbClr val="1F4E79"/>
                        </a:solidFill>
                        <a:effectLst/>
                        <a:latin typeface="gobCL" pitchFamily="50" charset="0"/>
                        <a:ea typeface="Times New Roman" panose="02020603050405020304" pitchFamily="18" charset="0"/>
                        <a:cs typeface="Times New Roman" panose="02020603050405020304" pitchFamily="18" charset="0"/>
                      </a:endParaRPr>
                    </a:p>
                  </a:txBody>
                  <a:tcPr marL="0" marR="0" marT="0" marB="0" anchor="b"/>
                </a:tc>
                <a:tc>
                  <a:txBody>
                    <a:bodyPr/>
                    <a:lstStyle/>
                    <a:p>
                      <a:pPr algn="r" fontAlgn="base">
                        <a:lnSpc>
                          <a:spcPct val="107000"/>
                        </a:lnSpc>
                      </a:pPr>
                      <a:r>
                        <a:rPr lang="es-CL" sz="1600" kern="100">
                          <a:solidFill>
                            <a:srgbClr val="1F4E79"/>
                          </a:solidFill>
                          <a:effectLst/>
                          <a:latin typeface="gobCL" pitchFamily="50" charset="0"/>
                        </a:rPr>
                        <a:t>1.750 </a:t>
                      </a:r>
                      <a:endParaRPr lang="es-CL" sz="1600" kern="100">
                        <a:solidFill>
                          <a:srgbClr val="1F4E79"/>
                        </a:solidFill>
                        <a:effectLst/>
                        <a:latin typeface="gobCL" pitchFamily="50" charset="0"/>
                        <a:ea typeface="Times New Roman" panose="02020603050405020304" pitchFamily="18" charset="0"/>
                        <a:cs typeface="Times New Roman" panose="02020603050405020304" pitchFamily="18" charset="0"/>
                      </a:endParaRPr>
                    </a:p>
                  </a:txBody>
                  <a:tcPr marL="0" marR="0" marT="0" marB="0" anchor="b"/>
                </a:tc>
                <a:tc>
                  <a:txBody>
                    <a:bodyPr/>
                    <a:lstStyle/>
                    <a:p>
                      <a:pPr algn="r" fontAlgn="base">
                        <a:lnSpc>
                          <a:spcPct val="107000"/>
                        </a:lnSpc>
                      </a:pPr>
                      <a:r>
                        <a:rPr lang="es-CL" sz="1600" kern="100">
                          <a:solidFill>
                            <a:srgbClr val="1F4E79"/>
                          </a:solidFill>
                          <a:effectLst/>
                          <a:latin typeface="gobCL" pitchFamily="50" charset="0"/>
                        </a:rPr>
                        <a:t>2.500 </a:t>
                      </a:r>
                      <a:endParaRPr lang="es-CL" sz="1600" kern="100">
                        <a:solidFill>
                          <a:srgbClr val="1F4E79"/>
                        </a:solidFill>
                        <a:effectLst/>
                        <a:latin typeface="gobCL" pitchFamily="50" charset="0"/>
                        <a:ea typeface="Times New Roman" panose="02020603050405020304" pitchFamily="18" charset="0"/>
                        <a:cs typeface="Times New Roman" panose="02020603050405020304" pitchFamily="18" charset="0"/>
                      </a:endParaRPr>
                    </a:p>
                  </a:txBody>
                  <a:tcPr marL="0" marR="0" marT="0" marB="0" anchor="b"/>
                </a:tc>
                <a:extLst>
                  <a:ext uri="{0D108BD9-81ED-4DB2-BD59-A6C34878D82A}">
                    <a16:rowId xmlns:a16="http://schemas.microsoft.com/office/drawing/2014/main" val="1863988702"/>
                  </a:ext>
                </a:extLst>
              </a:tr>
              <a:tr h="282268">
                <a:tc>
                  <a:txBody>
                    <a:bodyPr/>
                    <a:lstStyle/>
                    <a:p>
                      <a:pPr algn="l" fontAlgn="base">
                        <a:lnSpc>
                          <a:spcPct val="107000"/>
                        </a:lnSpc>
                      </a:pPr>
                      <a:r>
                        <a:rPr lang="es-CL" sz="1600" kern="100">
                          <a:solidFill>
                            <a:srgbClr val="1F4E79"/>
                          </a:solidFill>
                          <a:effectLst/>
                          <a:latin typeface="gobCL" pitchFamily="50" charset="0"/>
                        </a:rPr>
                        <a:t>Ley N°21.084 (Congreso Nacional)</a:t>
                      </a:r>
                      <a:endParaRPr lang="es-CL" sz="1600" kern="100">
                        <a:solidFill>
                          <a:srgbClr val="1F4E79"/>
                        </a:solidFill>
                        <a:effectLst/>
                        <a:latin typeface="gobCL" pitchFamily="50" charset="0"/>
                        <a:ea typeface="Times New Roman" panose="02020603050405020304" pitchFamily="18" charset="0"/>
                        <a:cs typeface="Times New Roman" panose="02020603050405020304" pitchFamily="18" charset="0"/>
                      </a:endParaRPr>
                    </a:p>
                  </a:txBody>
                  <a:tcPr marL="0" marR="0" marT="0" marB="0" anchor="b">
                    <a:lnB w="12700" cap="flat" cmpd="sng" algn="ctr">
                      <a:solidFill>
                        <a:srgbClr val="002060"/>
                      </a:solidFill>
                      <a:prstDash val="solid"/>
                      <a:round/>
                      <a:headEnd type="none" w="med" len="med"/>
                      <a:tailEnd type="none" w="med" len="med"/>
                    </a:lnB>
                    <a:noFill/>
                  </a:tcPr>
                </a:tc>
                <a:tc>
                  <a:txBody>
                    <a:bodyPr/>
                    <a:lstStyle/>
                    <a:p>
                      <a:pPr algn="r" fontAlgn="base">
                        <a:lnSpc>
                          <a:spcPct val="107000"/>
                        </a:lnSpc>
                      </a:pPr>
                      <a:r>
                        <a:rPr lang="es-CL" sz="1600" kern="100">
                          <a:solidFill>
                            <a:srgbClr val="1F4E79"/>
                          </a:solidFill>
                          <a:effectLst/>
                          <a:latin typeface="gobCL" pitchFamily="50" charset="0"/>
                        </a:rPr>
                        <a:t>  50 </a:t>
                      </a:r>
                      <a:endParaRPr lang="es-CL" sz="1600" kern="100">
                        <a:solidFill>
                          <a:srgbClr val="1F4E79"/>
                        </a:solidFill>
                        <a:effectLst/>
                        <a:latin typeface="gobCL" pitchFamily="50" charset="0"/>
                        <a:ea typeface="Times New Roman" panose="02020603050405020304" pitchFamily="18" charset="0"/>
                        <a:cs typeface="Times New Roman" panose="02020603050405020304" pitchFamily="18" charset="0"/>
                      </a:endParaRPr>
                    </a:p>
                  </a:txBody>
                  <a:tcPr marL="0" marR="0" marT="0" marB="0" anchor="b">
                    <a:lnB w="12700" cap="flat" cmpd="sng" algn="ctr">
                      <a:solidFill>
                        <a:srgbClr val="002060"/>
                      </a:solidFill>
                      <a:prstDash val="solid"/>
                      <a:round/>
                      <a:headEnd type="none" w="med" len="med"/>
                      <a:tailEnd type="none" w="med" len="med"/>
                    </a:lnB>
                    <a:noFill/>
                  </a:tcPr>
                </a:tc>
                <a:tc>
                  <a:txBody>
                    <a:bodyPr/>
                    <a:lstStyle/>
                    <a:p>
                      <a:pPr algn="r" fontAlgn="base">
                        <a:lnSpc>
                          <a:spcPct val="107000"/>
                        </a:lnSpc>
                      </a:pPr>
                      <a:r>
                        <a:rPr lang="es-CL" sz="1600" kern="100">
                          <a:solidFill>
                            <a:srgbClr val="1F4E79"/>
                          </a:solidFill>
                          <a:effectLst/>
                          <a:latin typeface="gobCL" pitchFamily="50" charset="0"/>
                        </a:rPr>
                        <a:t>25</a:t>
                      </a:r>
                      <a:endParaRPr lang="es-CL" sz="1600" kern="100">
                        <a:solidFill>
                          <a:srgbClr val="1F4E79"/>
                        </a:solidFill>
                        <a:effectLst/>
                        <a:latin typeface="gobCL" pitchFamily="50" charset="0"/>
                        <a:ea typeface="Times New Roman" panose="02020603050405020304" pitchFamily="18" charset="0"/>
                        <a:cs typeface="Times New Roman" panose="02020603050405020304" pitchFamily="18" charset="0"/>
                      </a:endParaRPr>
                    </a:p>
                  </a:txBody>
                  <a:tcPr marL="0" marR="0" marT="0" marB="0" anchor="b">
                    <a:lnB w="12700" cap="flat" cmpd="sng" algn="ctr">
                      <a:solidFill>
                        <a:srgbClr val="002060"/>
                      </a:solidFill>
                      <a:prstDash val="solid"/>
                      <a:round/>
                      <a:headEnd type="none" w="med" len="med"/>
                      <a:tailEnd type="none" w="med" len="med"/>
                    </a:lnB>
                    <a:noFill/>
                  </a:tcPr>
                </a:tc>
                <a:tc>
                  <a:txBody>
                    <a:bodyPr/>
                    <a:lstStyle/>
                    <a:p>
                      <a:pPr algn="r" fontAlgn="base">
                        <a:lnSpc>
                          <a:spcPct val="107000"/>
                        </a:lnSpc>
                      </a:pPr>
                      <a:r>
                        <a:rPr lang="es-CL" sz="1600" kern="100">
                          <a:solidFill>
                            <a:srgbClr val="1F4E79"/>
                          </a:solidFill>
                          <a:effectLst/>
                          <a:latin typeface="gobCL" pitchFamily="50" charset="0"/>
                        </a:rPr>
                        <a:t>75 </a:t>
                      </a:r>
                      <a:endParaRPr lang="es-CL" sz="1600" kern="100">
                        <a:solidFill>
                          <a:srgbClr val="1F4E79"/>
                        </a:solidFill>
                        <a:effectLst/>
                        <a:latin typeface="gobCL" pitchFamily="50" charset="0"/>
                        <a:ea typeface="Times New Roman" panose="02020603050405020304" pitchFamily="18" charset="0"/>
                        <a:cs typeface="Times New Roman" panose="02020603050405020304" pitchFamily="18" charset="0"/>
                      </a:endParaRPr>
                    </a:p>
                  </a:txBody>
                  <a:tcPr marL="0" marR="0" marT="0" marB="0" anchor="b">
                    <a:lnB w="12700" cap="flat" cmpd="sng" algn="ctr">
                      <a:solidFill>
                        <a:srgbClr val="002060"/>
                      </a:solidFill>
                      <a:prstDash val="solid"/>
                      <a:round/>
                      <a:headEnd type="none" w="med" len="med"/>
                      <a:tailEnd type="none" w="med" len="med"/>
                    </a:lnB>
                    <a:noFill/>
                  </a:tcPr>
                </a:tc>
                <a:extLst>
                  <a:ext uri="{0D108BD9-81ED-4DB2-BD59-A6C34878D82A}">
                    <a16:rowId xmlns:a16="http://schemas.microsoft.com/office/drawing/2014/main" val="173276919"/>
                  </a:ext>
                </a:extLst>
              </a:tr>
              <a:tr h="65669">
                <a:tc>
                  <a:txBody>
                    <a:bodyPr/>
                    <a:lstStyle/>
                    <a:p>
                      <a:pPr algn="l" fontAlgn="base">
                        <a:lnSpc>
                          <a:spcPct val="107000"/>
                        </a:lnSpc>
                      </a:pPr>
                      <a:r>
                        <a:rPr lang="es-ES" sz="1600" b="1" kern="100">
                          <a:solidFill>
                            <a:srgbClr val="1F4E79"/>
                          </a:solidFill>
                          <a:effectLst/>
                          <a:latin typeface="gobCL" pitchFamily="50" charset="0"/>
                          <a:ea typeface="+mn-ea"/>
                          <a:cs typeface="+mn-cs"/>
                        </a:rPr>
                        <a:t>TOTAL</a:t>
                      </a:r>
                      <a:endParaRPr lang="es-CL" sz="1600" b="1" kern="100">
                        <a:solidFill>
                          <a:srgbClr val="1F4E79"/>
                        </a:solidFill>
                        <a:effectLst/>
                        <a:latin typeface="gobCL" pitchFamily="50" charset="0"/>
                        <a:ea typeface="+mn-ea"/>
                        <a:cs typeface="+mn-cs"/>
                      </a:endParaRPr>
                    </a:p>
                  </a:txBody>
                  <a:tcPr marL="0" marR="0" marT="0" marB="0" anchor="b">
                    <a:lnT w="12700" cap="flat" cmpd="sng" algn="ctr">
                      <a:solidFill>
                        <a:srgbClr val="002060"/>
                      </a:solidFill>
                      <a:prstDash val="solid"/>
                      <a:round/>
                      <a:headEnd type="none" w="med" len="med"/>
                      <a:tailEnd type="none" w="med" len="med"/>
                    </a:lnT>
                    <a:noFill/>
                  </a:tcPr>
                </a:tc>
                <a:tc>
                  <a:txBody>
                    <a:bodyPr/>
                    <a:lstStyle/>
                    <a:p>
                      <a:pPr marL="0" algn="r" defTabSz="914400" rtl="0" eaLnBrk="1" fontAlgn="base" latinLnBrk="0" hangingPunct="1">
                        <a:lnSpc>
                          <a:spcPct val="107000"/>
                        </a:lnSpc>
                      </a:pPr>
                      <a:r>
                        <a:rPr lang="es-ES" sz="1600" b="1" kern="100">
                          <a:solidFill>
                            <a:srgbClr val="1F4E79"/>
                          </a:solidFill>
                          <a:effectLst/>
                          <a:latin typeface="gobCL" pitchFamily="50" charset="0"/>
                          <a:ea typeface="+mn-ea"/>
                          <a:cs typeface="+mn-cs"/>
                        </a:rPr>
                        <a:t>3.550</a:t>
                      </a:r>
                      <a:endParaRPr lang="es-CL" sz="1600" b="1" kern="100">
                        <a:solidFill>
                          <a:srgbClr val="1F4E79"/>
                        </a:solidFill>
                        <a:effectLst/>
                        <a:latin typeface="gobCL" pitchFamily="50" charset="0"/>
                        <a:ea typeface="+mn-ea"/>
                        <a:cs typeface="+mn-cs"/>
                      </a:endParaRPr>
                    </a:p>
                  </a:txBody>
                  <a:tcPr marL="0" marR="0" marT="0" marB="0" anchor="b">
                    <a:lnT w="12700" cap="flat" cmpd="sng" algn="ctr">
                      <a:solidFill>
                        <a:srgbClr val="002060"/>
                      </a:solidFill>
                      <a:prstDash val="solid"/>
                      <a:round/>
                      <a:headEnd type="none" w="med" len="med"/>
                      <a:tailEnd type="none" w="med" len="med"/>
                    </a:lnT>
                    <a:noFill/>
                  </a:tcPr>
                </a:tc>
                <a:tc>
                  <a:txBody>
                    <a:bodyPr/>
                    <a:lstStyle/>
                    <a:p>
                      <a:pPr marL="0" algn="r" defTabSz="914400" rtl="0" eaLnBrk="1" fontAlgn="base" latinLnBrk="0" hangingPunct="1">
                        <a:lnSpc>
                          <a:spcPct val="107000"/>
                        </a:lnSpc>
                      </a:pPr>
                      <a:r>
                        <a:rPr lang="es-ES" sz="1600" b="1" kern="100">
                          <a:solidFill>
                            <a:srgbClr val="1F4E79"/>
                          </a:solidFill>
                          <a:effectLst/>
                          <a:latin typeface="gobCL" pitchFamily="50" charset="0"/>
                          <a:ea typeface="+mn-ea"/>
                          <a:cs typeface="+mn-cs"/>
                        </a:rPr>
                        <a:t>14.065</a:t>
                      </a:r>
                      <a:endParaRPr lang="es-CL" sz="1600" b="1" kern="100">
                        <a:solidFill>
                          <a:srgbClr val="1F4E79"/>
                        </a:solidFill>
                        <a:effectLst/>
                        <a:latin typeface="gobCL" pitchFamily="50" charset="0"/>
                        <a:ea typeface="+mn-ea"/>
                        <a:cs typeface="+mn-cs"/>
                      </a:endParaRPr>
                    </a:p>
                  </a:txBody>
                  <a:tcPr marL="0" marR="0" marT="0" marB="0" anchor="b">
                    <a:lnT w="12700" cap="flat" cmpd="sng" algn="ctr">
                      <a:solidFill>
                        <a:srgbClr val="002060"/>
                      </a:solidFill>
                      <a:prstDash val="solid"/>
                      <a:round/>
                      <a:headEnd type="none" w="med" len="med"/>
                      <a:tailEnd type="none" w="med" len="med"/>
                    </a:lnT>
                    <a:noFill/>
                  </a:tcPr>
                </a:tc>
                <a:tc>
                  <a:txBody>
                    <a:bodyPr/>
                    <a:lstStyle/>
                    <a:p>
                      <a:pPr marL="0" algn="r" defTabSz="914400" rtl="0" eaLnBrk="1" fontAlgn="base" latinLnBrk="0" hangingPunct="1">
                        <a:lnSpc>
                          <a:spcPct val="107000"/>
                        </a:lnSpc>
                      </a:pPr>
                      <a:r>
                        <a:rPr lang="es-ES" sz="1600" b="1" kern="100">
                          <a:solidFill>
                            <a:srgbClr val="1F4E79"/>
                          </a:solidFill>
                          <a:effectLst/>
                          <a:latin typeface="gobCL" pitchFamily="50" charset="0"/>
                          <a:ea typeface="+mn-ea"/>
                          <a:cs typeface="+mn-cs"/>
                        </a:rPr>
                        <a:t>17.615</a:t>
                      </a:r>
                      <a:endParaRPr lang="es-CL" sz="1600" b="1" kern="100">
                        <a:solidFill>
                          <a:srgbClr val="1F4E79"/>
                        </a:solidFill>
                        <a:effectLst/>
                        <a:latin typeface="gobCL" pitchFamily="50" charset="0"/>
                        <a:ea typeface="+mn-ea"/>
                        <a:cs typeface="+mn-cs"/>
                      </a:endParaRPr>
                    </a:p>
                  </a:txBody>
                  <a:tcPr marL="0" marR="0" marT="0" marB="0" anchor="b">
                    <a:lnT w="12700" cap="flat" cmpd="sng" algn="ctr">
                      <a:solidFill>
                        <a:srgbClr val="002060"/>
                      </a:solidFill>
                      <a:prstDash val="solid"/>
                      <a:round/>
                      <a:headEnd type="none" w="med" len="med"/>
                      <a:tailEnd type="none" w="med" len="med"/>
                    </a:lnT>
                    <a:noFill/>
                  </a:tcPr>
                </a:tc>
                <a:extLst>
                  <a:ext uri="{0D108BD9-81ED-4DB2-BD59-A6C34878D82A}">
                    <a16:rowId xmlns:a16="http://schemas.microsoft.com/office/drawing/2014/main" val="2580191282"/>
                  </a:ext>
                </a:extLst>
              </a:tr>
            </a:tbl>
          </a:graphicData>
        </a:graphic>
      </p:graphicFrame>
      <p:sp>
        <p:nvSpPr>
          <p:cNvPr id="2" name="Elipse 1">
            <a:extLst>
              <a:ext uri="{FF2B5EF4-FFF2-40B4-BE49-F238E27FC236}">
                <a16:creationId xmlns:a16="http://schemas.microsoft.com/office/drawing/2014/main" id="{78021D8F-79FB-5548-D4CA-430400B619AC}"/>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 name="Marcador de número de diapositiva 2">
            <a:extLst>
              <a:ext uri="{FF2B5EF4-FFF2-40B4-BE49-F238E27FC236}">
                <a16:creationId xmlns:a16="http://schemas.microsoft.com/office/drawing/2014/main" id="{822394F2-149C-1B3C-62D5-64D6CDC3B830}"/>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28</a:t>
            </a:fld>
            <a:endParaRPr lang="en-US" b="1">
              <a:solidFill>
                <a:schemeClr val="bg1"/>
              </a:solidFill>
              <a:latin typeface="Calibri"/>
              <a:ea typeface="ヒラギノ角ゴ Pro W3"/>
              <a:cs typeface="Calibri"/>
            </a:endParaRPr>
          </a:p>
        </p:txBody>
      </p:sp>
    </p:spTree>
    <p:extLst>
      <p:ext uri="{BB962C8B-B14F-4D97-AF65-F5344CB8AC3E}">
        <p14:creationId xmlns:p14="http://schemas.microsoft.com/office/powerpoint/2010/main" val="905669304"/>
      </p:ext>
    </p:extLst>
  </p:cSld>
  <p:clrMapOvr>
    <a:masterClrMapping/>
  </p:clrMapOvr>
  <p:extLst>
    <p:ext uri="{6950BFC3-D8DA-4A85-94F7-54DA5524770B}">
      <p188:commentRel xmlns:p188="http://schemas.microsoft.com/office/powerpoint/2018/8/main" r:id="rId2"/>
    </p:ext>
  </p:extLs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2"/>
          <p:cNvSpPr/>
          <p:nvPr/>
        </p:nvSpPr>
        <p:spPr>
          <a:xfrm>
            <a:off x="536401" y="1324312"/>
            <a:ext cx="10322099" cy="3508653"/>
          </a:xfrm>
          <a:prstGeom prst="rect">
            <a:avLst/>
          </a:prstGeom>
        </p:spPr>
        <p:txBody>
          <a:bodyPr wrap="square" lIns="91440" tIns="45720" rIns="91440" bIns="45720" anchor="t">
            <a:spAutoFit/>
          </a:bodyPr>
          <a:lstStyle/>
          <a:p>
            <a:pPr marR="0" lvl="0" defTabSz="914400" rtl="0" eaLnBrk="1" fontAlgn="auto" latinLnBrk="0" hangingPunct="1">
              <a:lnSpc>
                <a:spcPct val="100000"/>
              </a:lnSpc>
              <a:spcBef>
                <a:spcPts val="0"/>
              </a:spcBef>
              <a:spcAft>
                <a:spcPts val="1200"/>
              </a:spcAft>
              <a:buClrTx/>
              <a:buSzTx/>
              <a:tabLst/>
              <a:defRPr/>
            </a:pPr>
            <a:r>
              <a:rPr lang="es-ES" sz="2000" b="1">
                <a:solidFill>
                  <a:srgbClr val="1F4E79"/>
                </a:solidFill>
                <a:latin typeface="gobCL"/>
                <a:ea typeface="Verdana"/>
                <a:cs typeface="Arial"/>
              </a:rPr>
              <a:t>2</a:t>
            </a:r>
            <a:r>
              <a:rPr kumimoji="0" lang="es-ES" sz="2000" b="1" i="0" u="none" strike="noStrike" kern="1200" cap="none" spc="0" normalizeH="0" baseline="0" noProof="0">
                <a:ln>
                  <a:noFill/>
                </a:ln>
                <a:solidFill>
                  <a:srgbClr val="1F4E79"/>
                </a:solidFill>
                <a:effectLst/>
                <a:uLnTx/>
                <a:uFillTx/>
                <a:latin typeface="gobCL"/>
                <a:ea typeface="Verdana"/>
                <a:cs typeface="Arial"/>
              </a:rPr>
              <a:t>. Planes de incentivo al retiro de funcionarios</a:t>
            </a:r>
            <a:endParaRPr lang="es-ES" sz="2000" b="1" i="0" u="none" strike="noStrike" kern="1200" cap="none" spc="0" normalizeH="0" baseline="0" noProof="0">
              <a:ln>
                <a:noFill/>
              </a:ln>
              <a:solidFill>
                <a:srgbClr val="1F4E79"/>
              </a:solidFill>
              <a:effectLst/>
              <a:uLnTx/>
              <a:uFillTx/>
              <a:latin typeface="gobCL"/>
              <a:ea typeface="Verdana"/>
              <a:cs typeface="Arial"/>
            </a:endParaRPr>
          </a:p>
          <a:p>
            <a:pPr marL="571500" lvl="1" indent="-127000">
              <a:spcAft>
                <a:spcPts val="1200"/>
              </a:spcAft>
              <a:buFont typeface="Arial" panose="020B0604020202020204" pitchFamily="34" charset="0"/>
              <a:buChar char="•"/>
              <a:defRPr/>
            </a:pPr>
            <a:r>
              <a:rPr lang="es-ES">
                <a:solidFill>
                  <a:srgbClr val="1F4E79"/>
                </a:solidFill>
                <a:latin typeface="gobCL"/>
                <a:ea typeface="Verdana"/>
                <a:cs typeface="Arial"/>
              </a:rPr>
              <a:t>Plazo excepcional para postular a los planes de retiro a los funcionarios y funcionarias que tengan la condición de enfermos terminales o bien padezcan de trastorno neuro cognitivo mayor en fase terminal.</a:t>
            </a:r>
          </a:p>
          <a:p>
            <a:pPr marL="571500" lvl="1" indent="-127000">
              <a:spcAft>
                <a:spcPts val="1200"/>
              </a:spcAft>
              <a:buFont typeface="Arial" panose="020B0604020202020204" pitchFamily="34" charset="0"/>
              <a:buChar char="•"/>
              <a:defRPr/>
            </a:pPr>
            <a:r>
              <a:rPr kumimoji="0" lang="es-ES" i="0" strike="noStrike" kern="1200" cap="none" spc="0" normalizeH="0" baseline="0" noProof="0">
                <a:ln>
                  <a:noFill/>
                </a:ln>
                <a:solidFill>
                  <a:srgbClr val="1F4E79"/>
                </a:solidFill>
                <a:effectLst/>
                <a:uLnTx/>
                <a:uFillTx/>
                <a:latin typeface="gobCL"/>
                <a:ea typeface="Verdana"/>
                <a:cs typeface="Arial"/>
              </a:rPr>
              <a:t>Prórroga del plazo extraordinario de postulación para personal de 70 años o más hasta 2024.</a:t>
            </a:r>
          </a:p>
          <a:p>
            <a:pPr marL="571500" lvl="1" indent="-127000">
              <a:spcAft>
                <a:spcPts val="1200"/>
              </a:spcAft>
              <a:buFont typeface="Arial" panose="020B0604020202020204" pitchFamily="34" charset="0"/>
              <a:buChar char="•"/>
              <a:defRPr/>
            </a:pPr>
            <a:r>
              <a:rPr lang="es-ES">
                <a:solidFill>
                  <a:srgbClr val="1F4E79"/>
                </a:solidFill>
                <a:latin typeface="gobCL"/>
                <a:ea typeface="Verdana"/>
                <a:cs typeface="Arial"/>
              </a:rPr>
              <a:t>Plan de Incentivo al retiro para el personal del Tribunal Calificador de Elecciones y de los Tribunales Electorales Regionales del país para los años 2024 y 2025.</a:t>
            </a:r>
          </a:p>
          <a:p>
            <a:pPr marL="571500" lvl="1" indent="-127000">
              <a:spcAft>
                <a:spcPts val="1200"/>
              </a:spcAft>
              <a:buFont typeface="Arial" panose="020B0604020202020204" pitchFamily="34" charset="0"/>
              <a:buChar char="•"/>
              <a:defRPr/>
            </a:pPr>
            <a:r>
              <a:rPr lang="es-ES">
                <a:solidFill>
                  <a:srgbClr val="1F4E79"/>
                </a:solidFill>
                <a:latin typeface="gobCL"/>
                <a:ea typeface="Verdana"/>
                <a:cs typeface="Arial"/>
              </a:rPr>
              <a:t>Facultad para establecer que los Hospitales Institucionales de las Fuerzas Armadas y de Orden y Seguridad Pública puedan otorgar la bonificación adicional establecida en la ley </a:t>
            </a:r>
            <a:r>
              <a:rPr lang="es-ES" err="1">
                <a:solidFill>
                  <a:srgbClr val="1F4E79"/>
                </a:solidFill>
                <a:latin typeface="gobCL"/>
                <a:ea typeface="Verdana"/>
                <a:cs typeface="Arial"/>
              </a:rPr>
              <a:t>Nº</a:t>
            </a:r>
            <a:r>
              <a:rPr lang="es-ES">
                <a:solidFill>
                  <a:srgbClr val="1F4E79"/>
                </a:solidFill>
                <a:latin typeface="gobCL"/>
                <a:ea typeface="Verdana"/>
                <a:cs typeface="Arial"/>
              </a:rPr>
              <a:t> 20.948 al personal contratado por dichos hospitales exclusivamente por las normas del Código del Trabajo.</a:t>
            </a:r>
            <a:endParaRPr lang="es-ES">
              <a:solidFill>
                <a:srgbClr val="1F4E79"/>
              </a:solidFill>
              <a:latin typeface="gobCL"/>
              <a:ea typeface="Verdana" panose="020B0604030504040204" pitchFamily="34" charset="0"/>
              <a:cs typeface="Arial" panose="020B0604020202020204" pitchFamily="34" charset="0"/>
            </a:endParaRPr>
          </a:p>
        </p:txBody>
      </p:sp>
      <p:sp>
        <p:nvSpPr>
          <p:cNvPr id="7" name="Título 5">
            <a:extLst>
              <a:ext uri="{FF2B5EF4-FFF2-40B4-BE49-F238E27FC236}">
                <a16:creationId xmlns:a16="http://schemas.microsoft.com/office/drawing/2014/main" id="{03FB9D43-B474-E85B-791C-D00FAB6333BE}"/>
              </a:ext>
            </a:extLst>
          </p:cNvPr>
          <p:cNvSpPr txBox="1">
            <a:spLocks/>
          </p:cNvSpPr>
          <p:nvPr/>
        </p:nvSpPr>
        <p:spPr>
          <a:xfrm>
            <a:off x="541645" y="380176"/>
            <a:ext cx="9432780" cy="415532"/>
          </a:xfrm>
          <a:prstGeom prst="rect">
            <a:avLst/>
          </a:prstGeom>
          <a:noFill/>
          <a:ln w="9525">
            <a:noFill/>
            <a:miter lim="800000"/>
            <a:headEnd/>
            <a:tailEnd/>
          </a:ln>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Bef>
                <a:spcPts val="0"/>
              </a:spcBef>
              <a:defRPr/>
            </a:pPr>
            <a:r>
              <a:rPr lang="es-ES_tradnl" sz="2800" b="1">
                <a:solidFill>
                  <a:srgbClr val="1F4E79"/>
                </a:solidFill>
                <a:latin typeface="gobCL"/>
                <a:cs typeface="Arial"/>
              </a:rPr>
              <a:t>Otras materias incluidas en el proyecto de ley</a:t>
            </a:r>
            <a:endParaRPr lang="es-ES" sz="1100">
              <a:solidFill>
                <a:srgbClr val="1F4E79"/>
              </a:solidFill>
            </a:endParaRPr>
          </a:p>
        </p:txBody>
      </p:sp>
      <p:sp>
        <p:nvSpPr>
          <p:cNvPr id="2" name="Elipse 1">
            <a:extLst>
              <a:ext uri="{FF2B5EF4-FFF2-40B4-BE49-F238E27FC236}">
                <a16:creationId xmlns:a16="http://schemas.microsoft.com/office/drawing/2014/main" id="{FFF87172-CB09-6AF8-5A64-876AA2D82272}"/>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 name="Marcador de número de diapositiva 2">
            <a:extLst>
              <a:ext uri="{FF2B5EF4-FFF2-40B4-BE49-F238E27FC236}">
                <a16:creationId xmlns:a16="http://schemas.microsoft.com/office/drawing/2014/main" id="{DAA82284-A2FB-ED19-B6EA-DF071AF846C1}"/>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29</a:t>
            </a:fld>
            <a:endParaRPr lang="en-US" b="1">
              <a:solidFill>
                <a:schemeClr val="bg1"/>
              </a:solidFill>
              <a:latin typeface="Calibri"/>
              <a:ea typeface="ヒラギノ角ゴ Pro W3"/>
              <a:cs typeface="Calibri"/>
            </a:endParaRPr>
          </a:p>
        </p:txBody>
      </p:sp>
    </p:spTree>
    <p:extLst>
      <p:ext uri="{BB962C8B-B14F-4D97-AF65-F5344CB8AC3E}">
        <p14:creationId xmlns:p14="http://schemas.microsoft.com/office/powerpoint/2010/main" val="4279748001"/>
      </p:ext>
    </p:extLst>
  </p:cSld>
  <p:clrMapOvr>
    <a:overrideClrMapping bg1="lt1" tx1="dk1" bg2="lt2" tx2="dk2" accent1="accent1" accent2="accent2" accent3="accent3" accent4="accent4" accent5="accent5" accent6="accent6" hlink="hlink" folHlink="folHlink"/>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a:extLst>
              <a:ext uri="{FF2B5EF4-FFF2-40B4-BE49-F238E27FC236}">
                <a16:creationId xmlns:a16="http://schemas.microsoft.com/office/drawing/2014/main" id="{79FF9171-4EFA-C7FC-9453-8B12E46DE596}"/>
              </a:ext>
            </a:extLst>
          </p:cNvPr>
          <p:cNvSpPr txBox="1"/>
          <p:nvPr/>
        </p:nvSpPr>
        <p:spPr>
          <a:xfrm>
            <a:off x="561888" y="224172"/>
            <a:ext cx="8305887" cy="1323439"/>
          </a:xfrm>
          <a:prstGeom prst="rect">
            <a:avLst/>
          </a:prstGeom>
          <a:noFill/>
        </p:spPr>
        <p:txBody>
          <a:bodyPr wrap="square" rtlCol="0">
            <a:spAutoFit/>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L" sz="2000" b="1" i="0" u="none" strike="noStrike" kern="1200" cap="none" spc="0" normalizeH="0" baseline="0" noProof="0">
                <a:ln>
                  <a:noFill/>
                </a:ln>
                <a:solidFill>
                  <a:srgbClr val="1F4E79"/>
                </a:solidFill>
                <a:effectLst/>
                <a:uLnTx/>
                <a:uFillTx/>
                <a:latin typeface="gobCL"/>
                <a:ea typeface="+mn-ea"/>
                <a:cs typeface="+mn-cs"/>
              </a:rPr>
              <a:t>El ajuste de la economía, necesario para la convergencia inflacionaria, ya ocurrió. </a:t>
            </a:r>
            <a:r>
              <a:rPr kumimoji="0" lang="es-ES" sz="2000" b="1" i="0" u="none" strike="noStrike" kern="1200" cap="none" spc="0" normalizeH="0" baseline="0" noProof="0">
                <a:ln>
                  <a:noFill/>
                </a:ln>
                <a:solidFill>
                  <a:srgbClr val="1F4E79"/>
                </a:solidFill>
                <a:effectLst/>
                <a:uLnTx/>
                <a:uFillTx/>
                <a:latin typeface="gobCL"/>
                <a:ea typeface="+mn-ea"/>
                <a:cs typeface="+mn-cs"/>
              </a:rPr>
              <a:t>A pesar del evidente sobrecalentamiento a finales de 2021, la inflación disminuyó fuertemente a partir de mediados de 2022, sin una gran recesión, volviendo la actividad al crecimiento interanual en el 3T23</a:t>
            </a:r>
            <a:endParaRPr kumimoji="0" lang="es-CL" sz="2000" b="1" i="0" u="none" strike="noStrike" kern="1200" cap="none" spc="0" normalizeH="0" baseline="0" noProof="0">
              <a:ln>
                <a:noFill/>
              </a:ln>
              <a:solidFill>
                <a:srgbClr val="1F4E79"/>
              </a:solidFill>
              <a:effectLst/>
              <a:uLnTx/>
              <a:uFillTx/>
              <a:latin typeface="gobCL"/>
              <a:ea typeface="+mn-ea"/>
              <a:cs typeface="+mn-cs"/>
            </a:endParaRPr>
          </a:p>
        </p:txBody>
      </p:sp>
      <p:sp>
        <p:nvSpPr>
          <p:cNvPr id="3" name="Rectángulo 2">
            <a:extLst>
              <a:ext uri="{FF2B5EF4-FFF2-40B4-BE49-F238E27FC236}">
                <a16:creationId xmlns:a16="http://schemas.microsoft.com/office/drawing/2014/main" id="{BB36762E-BAF2-776C-29FA-4AD255223907}"/>
              </a:ext>
            </a:extLst>
          </p:cNvPr>
          <p:cNvSpPr/>
          <p:nvPr/>
        </p:nvSpPr>
        <p:spPr>
          <a:xfrm>
            <a:off x="523788" y="6241882"/>
            <a:ext cx="8088901" cy="369332"/>
          </a:xfrm>
          <a:prstGeom prst="rect">
            <a:avLst/>
          </a:prstGeom>
        </p:spPr>
        <p:txBody>
          <a:bodyPr wrap="square">
            <a:spAutoFit/>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L" sz="900" b="1" i="0" u="none" strike="noStrike" kern="1200" cap="none" spc="0" normalizeH="0" baseline="0" noProof="0">
                <a:ln>
                  <a:noFill/>
                </a:ln>
                <a:solidFill>
                  <a:srgbClr val="1F4E79"/>
                </a:solidFill>
                <a:effectLst/>
                <a:uLnTx/>
                <a:uFillTx/>
                <a:latin typeface="gobCL" pitchFamily="50" charset="0"/>
              </a:rPr>
              <a:t>Nota</a:t>
            </a:r>
            <a:r>
              <a:rPr kumimoji="0" lang="es-CL" sz="900" b="0" i="0" u="none" strike="noStrike" kern="1200" cap="none" spc="0" normalizeH="0" baseline="0" noProof="0">
                <a:ln>
                  <a:noFill/>
                </a:ln>
                <a:solidFill>
                  <a:srgbClr val="1F4E79"/>
                </a:solidFill>
                <a:effectLst/>
                <a:uLnTx/>
                <a:uFillTx/>
                <a:latin typeface="gobCL" pitchFamily="50" charset="0"/>
              </a:rPr>
              <a:t>: (1) Logaritmo natural de la serie desestacionalizada. PIB No Minero potencial obtenido del Comité de Expertos de PIB No Minero tendencial 20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CL" sz="900" b="1" i="0" u="none" strike="noStrike" kern="1200" cap="none" spc="0" normalizeH="0" baseline="0" noProof="0">
                <a:ln>
                  <a:noFill/>
                </a:ln>
                <a:solidFill>
                  <a:srgbClr val="1F4E79"/>
                </a:solidFill>
                <a:effectLst/>
                <a:uLnTx/>
                <a:uFillTx/>
                <a:latin typeface="gobCL" pitchFamily="50" charset="0"/>
              </a:rPr>
              <a:t>Fuente: </a:t>
            </a:r>
            <a:r>
              <a:rPr kumimoji="0" lang="es-CL" sz="900" b="0" i="0" u="none" strike="noStrike" kern="1200" cap="none" spc="0" normalizeH="0" baseline="0" noProof="0">
                <a:ln>
                  <a:noFill/>
                </a:ln>
                <a:solidFill>
                  <a:srgbClr val="1F4E79"/>
                </a:solidFill>
                <a:effectLst/>
                <a:uLnTx/>
                <a:uFillTx/>
                <a:latin typeface="gobCL" pitchFamily="50" charset="0"/>
              </a:rPr>
              <a:t>Banco Central de Chile, Bloomberg y Ministerio de Hacienda.</a:t>
            </a:r>
          </a:p>
        </p:txBody>
      </p:sp>
      <p:graphicFrame>
        <p:nvGraphicFramePr>
          <p:cNvPr id="4" name="Gráfico 3">
            <a:extLst>
              <a:ext uri="{FF2B5EF4-FFF2-40B4-BE49-F238E27FC236}">
                <a16:creationId xmlns:a16="http://schemas.microsoft.com/office/drawing/2014/main" id="{18BA50D7-319E-4153-A49E-EDF92994841E}"/>
              </a:ext>
            </a:extLst>
          </p:cNvPr>
          <p:cNvGraphicFramePr>
            <a:graphicFrameLocks/>
          </p:cNvGraphicFramePr>
          <p:nvPr>
            <p:extLst>
              <p:ext uri="{D42A27DB-BD31-4B8C-83A1-F6EECF244321}">
                <p14:modId xmlns:p14="http://schemas.microsoft.com/office/powerpoint/2010/main" val="3689447240"/>
              </p:ext>
            </p:extLst>
          </p:nvPr>
        </p:nvGraphicFramePr>
        <p:xfrm>
          <a:off x="603612" y="1632866"/>
          <a:ext cx="5095200" cy="437740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Gráfico 4">
            <a:extLst>
              <a:ext uri="{FF2B5EF4-FFF2-40B4-BE49-F238E27FC236}">
                <a16:creationId xmlns:a16="http://schemas.microsoft.com/office/drawing/2014/main" id="{24921215-C586-0936-E2D2-D12349ED9615}"/>
              </a:ext>
            </a:extLst>
          </p:cNvPr>
          <p:cNvGraphicFramePr>
            <a:graphicFrameLocks/>
          </p:cNvGraphicFramePr>
          <p:nvPr>
            <p:extLst>
              <p:ext uri="{D42A27DB-BD31-4B8C-83A1-F6EECF244321}">
                <p14:modId xmlns:p14="http://schemas.microsoft.com/office/powerpoint/2010/main" val="662655596"/>
              </p:ext>
            </p:extLst>
          </p:nvPr>
        </p:nvGraphicFramePr>
        <p:xfrm>
          <a:off x="6343649" y="1676399"/>
          <a:ext cx="4968513" cy="4457701"/>
        </p:xfrm>
        <a:graphic>
          <a:graphicData uri="http://schemas.openxmlformats.org/drawingml/2006/chart">
            <c:chart xmlns:c="http://schemas.openxmlformats.org/drawingml/2006/chart" xmlns:r="http://schemas.openxmlformats.org/officeDocument/2006/relationships" r:id="rId4"/>
          </a:graphicData>
        </a:graphic>
      </p:graphicFrame>
      <p:sp>
        <p:nvSpPr>
          <p:cNvPr id="6" name="Elipse 5">
            <a:extLst>
              <a:ext uri="{FF2B5EF4-FFF2-40B4-BE49-F238E27FC236}">
                <a16:creationId xmlns:a16="http://schemas.microsoft.com/office/drawing/2014/main" id="{335624C0-BA16-AFAD-19FB-586574018ECE}"/>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9" name="Marcador de número de diapositiva 2">
            <a:extLst>
              <a:ext uri="{FF2B5EF4-FFF2-40B4-BE49-F238E27FC236}">
                <a16:creationId xmlns:a16="http://schemas.microsoft.com/office/drawing/2014/main" id="{4019C814-F7D7-177E-4A8F-6922377C1E6A}"/>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3</a:t>
            </a:fld>
            <a:endParaRPr lang="en-US" b="1">
              <a:solidFill>
                <a:schemeClr val="bg1"/>
              </a:solidFill>
              <a:latin typeface="Calibri"/>
              <a:ea typeface="ヒラギノ角ゴ Pro W3"/>
              <a:cs typeface="Calibri"/>
            </a:endParaRPr>
          </a:p>
        </p:txBody>
      </p:sp>
    </p:spTree>
    <p:extLst>
      <p:ext uri="{BB962C8B-B14F-4D97-AF65-F5344CB8AC3E}">
        <p14:creationId xmlns:p14="http://schemas.microsoft.com/office/powerpoint/2010/main" val="209680565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2"/>
          <p:cNvSpPr/>
          <p:nvPr/>
        </p:nvSpPr>
        <p:spPr>
          <a:xfrm>
            <a:off x="520699" y="1302518"/>
            <a:ext cx="10375901" cy="6124754"/>
          </a:xfrm>
          <a:prstGeom prst="rect">
            <a:avLst/>
          </a:prstGeom>
        </p:spPr>
        <p:txBody>
          <a:bodyPr wrap="square" lIns="91440" tIns="45720" rIns="91440" bIns="45720" anchor="t">
            <a:spAutoFit/>
          </a:bodyPr>
          <a:lstStyle/>
          <a:p>
            <a:pPr lvl="0">
              <a:spcAft>
                <a:spcPts val="1200"/>
              </a:spcAft>
            </a:pPr>
            <a:r>
              <a:rPr kumimoji="0" lang="es-ES" sz="2000" b="1" i="0" u="none" strike="noStrike" kern="1200" cap="none" spc="0" normalizeH="0" baseline="0" noProof="0">
                <a:ln>
                  <a:noFill/>
                </a:ln>
                <a:solidFill>
                  <a:srgbClr val="1F4E79"/>
                </a:solidFill>
                <a:effectLst/>
                <a:uLnTx/>
                <a:uFillTx/>
                <a:latin typeface="gobCL"/>
                <a:ea typeface="Verdana"/>
                <a:cs typeface="Arial"/>
              </a:rPr>
              <a:t>3. Plantas, remuneraciones, trabajo remoto</a:t>
            </a:r>
            <a:endParaRPr lang="es-CL" sz="2000" b="1">
              <a:solidFill>
                <a:srgbClr val="1F4E79"/>
              </a:solidFill>
              <a:effectLst/>
              <a:latin typeface="gobCL"/>
              <a:ea typeface="Verdana"/>
              <a:cs typeface="Times New Roman"/>
            </a:endParaRPr>
          </a:p>
          <a:p>
            <a:pPr marL="723900" lvl="1" indent="-266700">
              <a:buFont typeface="Arial" panose="020B0604020202020204" pitchFamily="34" charset="0"/>
              <a:buChar char="•"/>
            </a:pPr>
            <a:r>
              <a:rPr lang="es-ES" b="1">
                <a:solidFill>
                  <a:srgbClr val="1F4E79"/>
                </a:solidFill>
                <a:latin typeface="gobCL"/>
              </a:rPr>
              <a:t>Modificación de plantas de personal de Gendarmería (plantas I y II):  </a:t>
            </a:r>
            <a:r>
              <a:rPr lang="es-MX">
                <a:solidFill>
                  <a:srgbClr val="1F4E79"/>
                </a:solidFill>
                <a:latin typeface="gobCL"/>
              </a:rPr>
              <a:t>En Gendarmería de Chile se redistribuyen cargos en la Plantas I de Oficiales Penitenciarios y en la Planta II de Suboficiales y Gendarmes.</a:t>
            </a:r>
          </a:p>
          <a:p>
            <a:pPr marL="723900" lvl="1" indent="-266700">
              <a:buFont typeface="Arial" panose="020B0604020202020204" pitchFamily="34" charset="0"/>
              <a:buChar char="•"/>
            </a:pPr>
            <a:r>
              <a:rPr lang="es-ES" b="1">
                <a:solidFill>
                  <a:srgbClr val="1F4E79"/>
                </a:solidFill>
                <a:latin typeface="gobCL"/>
              </a:rPr>
              <a:t>Bono de desempeño laboral: </a:t>
            </a:r>
            <a:r>
              <a:rPr lang="es-MX">
                <a:solidFill>
                  <a:srgbClr val="1F4E79"/>
                </a:solidFill>
                <a:latin typeface="gobCL"/>
              </a:rPr>
              <a:t>Se establece una regulación especial para el componente variable del bono de desempeño laboral para asistentes de la educación.</a:t>
            </a:r>
          </a:p>
          <a:p>
            <a:pPr marL="723900" lvl="1" indent="-266700">
              <a:buFont typeface="Arial" panose="020B0604020202020204" pitchFamily="34" charset="0"/>
              <a:buChar char="•"/>
            </a:pPr>
            <a:r>
              <a:rPr lang="es-MX" b="1">
                <a:solidFill>
                  <a:srgbClr val="1F4E79"/>
                </a:solidFill>
                <a:latin typeface="gobCL"/>
              </a:rPr>
              <a:t>Asignación </a:t>
            </a:r>
            <a:r>
              <a:rPr lang="es-MX" b="1" err="1">
                <a:solidFill>
                  <a:srgbClr val="1F4E79"/>
                </a:solidFill>
                <a:latin typeface="gobCL"/>
              </a:rPr>
              <a:t>fito</a:t>
            </a:r>
            <a:r>
              <a:rPr lang="es-MX" b="1">
                <a:solidFill>
                  <a:srgbClr val="1F4E79"/>
                </a:solidFill>
                <a:latin typeface="gobCL"/>
              </a:rPr>
              <a:t> y zoosanitaria: </a:t>
            </a:r>
            <a:r>
              <a:rPr lang="es-MX">
                <a:solidFill>
                  <a:srgbClr val="1F4E79"/>
                </a:solidFill>
                <a:latin typeface="gobCL"/>
              </a:rPr>
              <a:t>Incrementa el componente fijo de la asignación de estímulo </a:t>
            </a:r>
            <a:r>
              <a:rPr lang="es-MX" err="1">
                <a:solidFill>
                  <a:srgbClr val="1F4E79"/>
                </a:solidFill>
                <a:latin typeface="gobCL"/>
              </a:rPr>
              <a:t>fito</a:t>
            </a:r>
            <a:r>
              <a:rPr lang="es-MX">
                <a:solidFill>
                  <a:srgbClr val="1F4E79"/>
                </a:solidFill>
                <a:latin typeface="gobCL"/>
              </a:rPr>
              <a:t> y zoosanitaria del Servicio Agrícola y Ganadero.</a:t>
            </a:r>
          </a:p>
          <a:p>
            <a:pPr marL="723900" lvl="1" indent="-266700">
              <a:buFont typeface="Arial" panose="020B0604020202020204" pitchFamily="34" charset="0"/>
              <a:buChar char="•"/>
            </a:pPr>
            <a:r>
              <a:rPr lang="es-MX" b="1">
                <a:solidFill>
                  <a:srgbClr val="1F4E79"/>
                </a:solidFill>
                <a:latin typeface="gobCL"/>
              </a:rPr>
              <a:t>Bono especial VTF: </a:t>
            </a:r>
            <a:r>
              <a:rPr lang="es-MX">
                <a:solidFill>
                  <a:srgbClr val="1F4E79"/>
                </a:solidFill>
                <a:latin typeface="gobCL"/>
              </a:rPr>
              <a:t>Se concede un bono especial a los directores, educadores de párvulos, y asistentes de la educación, tanto municipales como dependientes de los SLE, </a:t>
            </a:r>
            <a:r>
              <a:rPr lang="es-ES">
                <a:solidFill>
                  <a:srgbClr val="1F4E79"/>
                </a:solidFill>
                <a:latin typeface="gobCL"/>
              </a:rPr>
              <a:t>que hayan ejercido funciones entre los años 2015 y 2019, y que no hayan percibido el bono de desempeño laboral establecido en las leyes N°20.883, 20.975, 21.050 y 21.126</a:t>
            </a:r>
            <a:r>
              <a:rPr lang="es-MX">
                <a:solidFill>
                  <a:srgbClr val="1F4E79"/>
                </a:solidFill>
                <a:latin typeface="gobCL"/>
              </a:rPr>
              <a:t>.</a:t>
            </a:r>
          </a:p>
          <a:p>
            <a:pPr marL="723900" lvl="1" indent="-266700">
              <a:buFont typeface="Arial" panose="020B0604020202020204" pitchFamily="34" charset="0"/>
              <a:buChar char="•"/>
            </a:pPr>
            <a:r>
              <a:rPr lang="es-MX" b="1">
                <a:solidFill>
                  <a:srgbClr val="1F4E79"/>
                </a:solidFill>
                <a:latin typeface="gobCL"/>
              </a:rPr>
              <a:t>Remuneraciones ministros del TC: </a:t>
            </a:r>
            <a:r>
              <a:rPr lang="es-MX">
                <a:solidFill>
                  <a:srgbClr val="1F4E79"/>
                </a:solidFill>
                <a:latin typeface="gobCL"/>
              </a:rPr>
              <a:t>Se avanza en la homologación de las remuneraciones de las autoridades del Tribunal con las que corresponden a los Ministros de la Corte Suprema.</a:t>
            </a:r>
          </a:p>
          <a:p>
            <a:pPr marL="723900" lvl="1" indent="-266700">
              <a:buFont typeface="Arial" panose="020B0604020202020204" pitchFamily="34" charset="0"/>
              <a:buChar char="•"/>
            </a:pPr>
            <a:r>
              <a:rPr lang="es-MX" b="1">
                <a:solidFill>
                  <a:srgbClr val="1F4E79"/>
                </a:solidFill>
                <a:latin typeface="gobCL"/>
              </a:rPr>
              <a:t>Trabajo Remoto. </a:t>
            </a:r>
            <a:r>
              <a:rPr lang="es-MX">
                <a:solidFill>
                  <a:srgbClr val="1F4E79"/>
                </a:solidFill>
                <a:latin typeface="gobCL"/>
              </a:rPr>
              <a:t>Faculta a los jefes superiores de servicio de </a:t>
            </a:r>
            <a:r>
              <a:rPr lang="es-MX" b="1">
                <a:solidFill>
                  <a:srgbClr val="1F4E79"/>
                </a:solidFill>
                <a:latin typeface="gobCL"/>
              </a:rPr>
              <a:t>las subsecretarías y de los servicios dependientes de los ministerios</a:t>
            </a:r>
            <a:r>
              <a:rPr lang="es-MX">
                <a:solidFill>
                  <a:srgbClr val="1F4E79"/>
                </a:solidFill>
                <a:latin typeface="gobCL"/>
              </a:rPr>
              <a:t> o que se relacionen a través de ellos, a los </a:t>
            </a:r>
            <a:r>
              <a:rPr lang="es-MX" b="1">
                <a:solidFill>
                  <a:srgbClr val="1F4E79"/>
                </a:solidFill>
                <a:latin typeface="gobCL"/>
              </a:rPr>
              <a:t>rectores y rectoras </a:t>
            </a:r>
            <a:r>
              <a:rPr lang="es-MX">
                <a:solidFill>
                  <a:srgbClr val="1F4E79"/>
                </a:solidFill>
                <a:latin typeface="gobCL"/>
              </a:rPr>
              <a:t>de las </a:t>
            </a:r>
            <a:r>
              <a:rPr lang="es-MX" b="1">
                <a:solidFill>
                  <a:srgbClr val="1F4E79"/>
                </a:solidFill>
                <a:latin typeface="gobCL"/>
              </a:rPr>
              <a:t>Universidades del Estado</a:t>
            </a:r>
            <a:r>
              <a:rPr lang="es-MX">
                <a:solidFill>
                  <a:srgbClr val="1F4E79"/>
                </a:solidFill>
                <a:latin typeface="gobCL"/>
              </a:rPr>
              <a:t> y de los </a:t>
            </a:r>
            <a:r>
              <a:rPr lang="es-MX" b="1">
                <a:solidFill>
                  <a:srgbClr val="1F4E79"/>
                </a:solidFill>
                <a:latin typeface="gobCL"/>
              </a:rPr>
              <a:t>Centros de Formación Técnica del Estado</a:t>
            </a:r>
            <a:r>
              <a:rPr lang="es-MX">
                <a:solidFill>
                  <a:srgbClr val="1F4E79"/>
                </a:solidFill>
                <a:latin typeface="gobCL"/>
              </a:rPr>
              <a:t>, al </a:t>
            </a:r>
            <a:r>
              <a:rPr lang="es-MX" b="1">
                <a:solidFill>
                  <a:srgbClr val="1F4E79"/>
                </a:solidFill>
                <a:latin typeface="gobCL"/>
              </a:rPr>
              <a:t>Contralor General de la República </a:t>
            </a:r>
            <a:r>
              <a:rPr lang="es-MX">
                <a:solidFill>
                  <a:srgbClr val="1F4E79"/>
                </a:solidFill>
                <a:latin typeface="gobCL"/>
              </a:rPr>
              <a:t>y a los </a:t>
            </a:r>
            <a:r>
              <a:rPr lang="es-MX" b="1">
                <a:solidFill>
                  <a:srgbClr val="1F4E79"/>
                </a:solidFill>
                <a:latin typeface="gobCL"/>
              </a:rPr>
              <a:t>Gobernadores Regionales</a:t>
            </a:r>
            <a:r>
              <a:rPr lang="es-MX">
                <a:solidFill>
                  <a:srgbClr val="1F4E79"/>
                </a:solidFill>
                <a:latin typeface="gobCL"/>
              </a:rPr>
              <a:t>, para establecer trabajo remoto en sus servicios respectivos, por los períodos que se indican.</a:t>
            </a:r>
          </a:p>
          <a:p>
            <a:pPr marL="723900" lvl="1" indent="-266700">
              <a:buFont typeface="Arial" panose="020B0604020202020204" pitchFamily="34" charset="0"/>
              <a:buChar char="•"/>
            </a:pPr>
            <a:endParaRPr lang="es-MX">
              <a:solidFill>
                <a:srgbClr val="1F4E79"/>
              </a:solidFill>
              <a:latin typeface="gobCL"/>
            </a:endParaRPr>
          </a:p>
          <a:p>
            <a:pPr marL="800100" lvl="1" indent="-342900" algn="just">
              <a:spcAft>
                <a:spcPts val="600"/>
              </a:spcAft>
              <a:buFont typeface="Arial" panose="020B0604020202020204" pitchFamily="34" charset="0"/>
              <a:buChar char="•"/>
            </a:pPr>
            <a:endParaRPr lang="es-MX" sz="2000">
              <a:solidFill>
                <a:schemeClr val="accent1">
                  <a:lumMod val="50000"/>
                </a:schemeClr>
              </a:solidFill>
              <a:highlight>
                <a:srgbClr val="FFFF00"/>
              </a:highlight>
              <a:latin typeface="gobCL"/>
            </a:endParaRPr>
          </a:p>
        </p:txBody>
      </p:sp>
      <p:sp>
        <p:nvSpPr>
          <p:cNvPr id="5" name="Título 5">
            <a:extLst>
              <a:ext uri="{FF2B5EF4-FFF2-40B4-BE49-F238E27FC236}">
                <a16:creationId xmlns:a16="http://schemas.microsoft.com/office/drawing/2014/main" id="{A831AEE5-2A11-D47F-B7E7-F2F82B117773}"/>
              </a:ext>
            </a:extLst>
          </p:cNvPr>
          <p:cNvSpPr txBox="1">
            <a:spLocks/>
          </p:cNvSpPr>
          <p:nvPr/>
        </p:nvSpPr>
        <p:spPr>
          <a:xfrm>
            <a:off x="567045" y="392876"/>
            <a:ext cx="9432780" cy="415532"/>
          </a:xfrm>
          <a:prstGeom prst="rect">
            <a:avLst/>
          </a:prstGeom>
          <a:noFill/>
          <a:ln w="9525">
            <a:noFill/>
            <a:miter lim="800000"/>
            <a:headEnd/>
            <a:tailEnd/>
          </a:ln>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Bef>
                <a:spcPts val="0"/>
              </a:spcBef>
              <a:defRPr/>
            </a:pPr>
            <a:r>
              <a:rPr lang="es-ES_tradnl" sz="2800" b="1">
                <a:solidFill>
                  <a:srgbClr val="1F4E79"/>
                </a:solidFill>
                <a:latin typeface="gobCL"/>
                <a:cs typeface="Arial"/>
              </a:rPr>
              <a:t>Otras materias incluidas en el proyecto de ley</a:t>
            </a:r>
            <a:endParaRPr lang="es-ES" sz="1100">
              <a:solidFill>
                <a:srgbClr val="1F4E79"/>
              </a:solidFill>
            </a:endParaRPr>
          </a:p>
        </p:txBody>
      </p:sp>
      <p:sp>
        <p:nvSpPr>
          <p:cNvPr id="2" name="Elipse 1">
            <a:extLst>
              <a:ext uri="{FF2B5EF4-FFF2-40B4-BE49-F238E27FC236}">
                <a16:creationId xmlns:a16="http://schemas.microsoft.com/office/drawing/2014/main" id="{45537D43-C6F3-63EF-CAB4-71C4A10D94EF}"/>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 name="Marcador de número de diapositiva 2">
            <a:extLst>
              <a:ext uri="{FF2B5EF4-FFF2-40B4-BE49-F238E27FC236}">
                <a16:creationId xmlns:a16="http://schemas.microsoft.com/office/drawing/2014/main" id="{F256E516-E1C1-186C-93B7-6E4810B83877}"/>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30</a:t>
            </a:fld>
            <a:endParaRPr lang="en-US" b="1">
              <a:solidFill>
                <a:schemeClr val="bg1"/>
              </a:solidFill>
              <a:latin typeface="Calibri"/>
              <a:ea typeface="ヒラギノ角ゴ Pro W3"/>
              <a:cs typeface="Calibri"/>
            </a:endParaRPr>
          </a:p>
        </p:txBody>
      </p:sp>
    </p:spTree>
    <p:extLst>
      <p:ext uri="{BB962C8B-B14F-4D97-AF65-F5344CB8AC3E}">
        <p14:creationId xmlns:p14="http://schemas.microsoft.com/office/powerpoint/2010/main" val="2006891235"/>
      </p:ext>
    </p:extLst>
  </p:cSld>
  <p:clrMapOvr>
    <a:overrideClrMapping bg1="lt1" tx1="dk1" bg2="lt2" tx2="dk2" accent1="accent1" accent2="accent2" accent3="accent3" accent4="accent4" accent5="accent5" accent6="accent6" hlink="hlink" folHlink="folHlink"/>
  </p:clrMapOvr>
  <p:extLst>
    <p:ext uri="{6950BFC3-D8DA-4A85-94F7-54DA5524770B}">
      <p188:commentRel xmlns:p188="http://schemas.microsoft.com/office/powerpoint/2018/8/main" r:id="rId3"/>
    </p:ext>
  </p:extLs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2"/>
          <p:cNvSpPr/>
          <p:nvPr/>
        </p:nvSpPr>
        <p:spPr>
          <a:xfrm>
            <a:off x="554345" y="1495032"/>
            <a:ext cx="10388600" cy="5093702"/>
          </a:xfrm>
          <a:prstGeom prst="rect">
            <a:avLst/>
          </a:prstGeom>
        </p:spPr>
        <p:txBody>
          <a:bodyPr wrap="square" lIns="91440" tIns="45720" rIns="91440" bIns="45720" anchor="t">
            <a:spAutoFit/>
          </a:bodyPr>
          <a:lstStyle/>
          <a:p>
            <a:pPr lvl="0">
              <a:spcAft>
                <a:spcPts val="1200"/>
              </a:spcAft>
            </a:pPr>
            <a:r>
              <a:rPr lang="es-ES" sz="2000" b="1">
                <a:solidFill>
                  <a:srgbClr val="1F4E79"/>
                </a:solidFill>
                <a:latin typeface="gobCL"/>
                <a:ea typeface="Verdana"/>
                <a:cs typeface="Arial"/>
              </a:rPr>
              <a:t>4</a:t>
            </a:r>
            <a:r>
              <a:rPr kumimoji="0" lang="es-ES" sz="2000" b="1" i="0" u="none" strike="noStrike" kern="1200" cap="none" spc="0" normalizeH="0" baseline="0" noProof="0">
                <a:ln>
                  <a:noFill/>
                </a:ln>
                <a:solidFill>
                  <a:srgbClr val="1F4E79"/>
                </a:solidFill>
                <a:effectLst/>
                <a:uLnTx/>
                <a:uFillTx/>
                <a:latin typeface="gobCL"/>
                <a:ea typeface="Verdana"/>
                <a:cs typeface="Arial"/>
              </a:rPr>
              <a:t>. Ajustes en vigencia de normas y referencias</a:t>
            </a:r>
          </a:p>
          <a:p>
            <a:pPr marL="622300" lvl="1" indent="-165100">
              <a:spcAft>
                <a:spcPts val="600"/>
              </a:spcAft>
              <a:buFont typeface="Arial" panose="020B0604020202020204" pitchFamily="34" charset="0"/>
              <a:buChar char="•"/>
            </a:pPr>
            <a:r>
              <a:rPr lang="es-ES" b="1">
                <a:solidFill>
                  <a:srgbClr val="1F4E79"/>
                </a:solidFill>
                <a:latin typeface="gobCL"/>
              </a:rPr>
              <a:t>Pequeños productores agrícolas: </a:t>
            </a:r>
            <a:r>
              <a:rPr lang="es-ES">
                <a:solidFill>
                  <a:srgbClr val="1F4E79"/>
                </a:solidFill>
                <a:latin typeface="gobCL"/>
              </a:rPr>
              <a:t>Se modifica excepcionalmente, hasta el 31 de diciembre de 2024, la definición de pequeños productores agrícolas, como consecuencia del proceso de reevalúo de bienes agrícolas del año 2020 y año 2024.</a:t>
            </a:r>
          </a:p>
          <a:p>
            <a:pPr marL="622300" lvl="1" indent="-165100">
              <a:spcAft>
                <a:spcPts val="600"/>
              </a:spcAft>
              <a:buFont typeface="Arial" panose="020B0604020202020204" pitchFamily="34" charset="0"/>
              <a:buChar char="•"/>
            </a:pPr>
            <a:r>
              <a:rPr lang="es-ES" b="1">
                <a:solidFill>
                  <a:srgbClr val="1F4E79"/>
                </a:solidFill>
                <a:latin typeface="gobCL"/>
              </a:rPr>
              <a:t>Casinos de juego: </a:t>
            </a:r>
            <a:r>
              <a:rPr lang="es-MX">
                <a:solidFill>
                  <a:srgbClr val="1F4E79"/>
                </a:solidFill>
                <a:latin typeface="gobCL"/>
              </a:rPr>
              <a:t>Regula la continuidad operacional de los casinos de juego en los períodos de vacancias que podría producirse tras el proceso de otorgamiento de un permiso.</a:t>
            </a:r>
          </a:p>
          <a:p>
            <a:pPr marL="622300" lvl="1" indent="-165100">
              <a:spcAft>
                <a:spcPts val="600"/>
              </a:spcAft>
              <a:buFont typeface="Arial" panose="020B0604020202020204" pitchFamily="34" charset="0"/>
              <a:buChar char="•"/>
            </a:pPr>
            <a:r>
              <a:rPr lang="es-ES" b="1">
                <a:solidFill>
                  <a:srgbClr val="1F4E79"/>
                </a:solidFill>
                <a:latin typeface="gobCL"/>
              </a:rPr>
              <a:t>Extensión de la vigencia de mecanismo de recupero de impuesto específico al diésel: </a:t>
            </a:r>
            <a:r>
              <a:rPr lang="es-ES">
                <a:solidFill>
                  <a:srgbClr val="1F4E79"/>
                </a:solidFill>
                <a:latin typeface="gobCL"/>
              </a:rPr>
              <a:t>se extiende hasta 2025 el plazo para el reintegro parcial del impuesto específico al petróleo diésel para las empresas de transporte de carga.</a:t>
            </a:r>
          </a:p>
          <a:p>
            <a:pPr marL="622300" lvl="1" indent="-165100">
              <a:spcAft>
                <a:spcPts val="600"/>
              </a:spcAft>
              <a:buFont typeface="Arial" panose="020B0604020202020204" pitchFamily="34" charset="0"/>
              <a:buChar char="•"/>
            </a:pPr>
            <a:r>
              <a:rPr lang="es-ES" b="1">
                <a:solidFill>
                  <a:srgbClr val="1F4E79"/>
                </a:solidFill>
                <a:latin typeface="gobCL"/>
              </a:rPr>
              <a:t>Bosque nativo: </a:t>
            </a:r>
            <a:r>
              <a:rPr lang="es-ES">
                <a:solidFill>
                  <a:srgbClr val="1F4E79"/>
                </a:solidFill>
                <a:latin typeface="gobCL"/>
              </a:rPr>
              <a:t>Se autoriza transitoriamente a los propietarios de bosques con especies determinadas a que puedan seguir haciendo uso de los incentivos del fondo del artículo 22 de la ley N°20.283 y para dar continuidad a procedimientos de evaluación ambiental.</a:t>
            </a:r>
          </a:p>
          <a:p>
            <a:pPr marL="622300" lvl="1" indent="-165100">
              <a:spcAft>
                <a:spcPts val="600"/>
              </a:spcAft>
              <a:buFont typeface="Arial" panose="020B0604020202020204" pitchFamily="34" charset="0"/>
              <a:buChar char="•"/>
            </a:pPr>
            <a:r>
              <a:rPr lang="es-MX" b="1">
                <a:solidFill>
                  <a:srgbClr val="1F4E79"/>
                </a:solidFill>
                <a:latin typeface="gobCL"/>
              </a:rPr>
              <a:t>Adquisición de inmuebles: </a:t>
            </a:r>
            <a:r>
              <a:rPr lang="es-ES">
                <a:solidFill>
                  <a:srgbClr val="1F4E79"/>
                </a:solidFill>
                <a:latin typeface="gobCL"/>
              </a:rPr>
              <a:t>Se prorrogan de plazos para la adquisición de inmuebles donde funcionan establecimientos educacionales.</a:t>
            </a:r>
          </a:p>
          <a:p>
            <a:pPr marL="622300" lvl="1" indent="-165100">
              <a:spcAft>
                <a:spcPts val="600"/>
              </a:spcAft>
              <a:buFont typeface="Arial" panose="020B0604020202020204" pitchFamily="34" charset="0"/>
              <a:buChar char="•"/>
            </a:pPr>
            <a:r>
              <a:rPr lang="es-ES" b="1">
                <a:solidFill>
                  <a:srgbClr val="1F4E79"/>
                </a:solidFill>
                <a:latin typeface="gobCL"/>
              </a:rPr>
              <a:t>Estatutos de universidades estatales: </a:t>
            </a:r>
            <a:r>
              <a:rPr lang="es-ES">
                <a:solidFill>
                  <a:srgbClr val="1F4E79"/>
                </a:solidFill>
                <a:latin typeface="gobCL"/>
              </a:rPr>
              <a:t>Se extiende por seis meses la facultad para dictar los DFL que fijan los Estatutos de universidades estatales para ajustarlos a la ley </a:t>
            </a:r>
            <a:r>
              <a:rPr lang="es-ES" err="1">
                <a:solidFill>
                  <a:srgbClr val="1F4E79"/>
                </a:solidFill>
                <a:latin typeface="gobCL"/>
              </a:rPr>
              <a:t>N°</a:t>
            </a:r>
            <a:r>
              <a:rPr lang="es-ES">
                <a:solidFill>
                  <a:srgbClr val="1F4E79"/>
                </a:solidFill>
                <a:latin typeface="gobCL"/>
              </a:rPr>
              <a:t> 21.094.</a:t>
            </a:r>
          </a:p>
        </p:txBody>
      </p:sp>
      <p:sp>
        <p:nvSpPr>
          <p:cNvPr id="5" name="Título 5">
            <a:extLst>
              <a:ext uri="{FF2B5EF4-FFF2-40B4-BE49-F238E27FC236}">
                <a16:creationId xmlns:a16="http://schemas.microsoft.com/office/drawing/2014/main" id="{A831AEE5-2A11-D47F-B7E7-F2F82B117773}"/>
              </a:ext>
            </a:extLst>
          </p:cNvPr>
          <p:cNvSpPr txBox="1">
            <a:spLocks/>
          </p:cNvSpPr>
          <p:nvPr/>
        </p:nvSpPr>
        <p:spPr>
          <a:xfrm>
            <a:off x="554345" y="392876"/>
            <a:ext cx="9432780" cy="415532"/>
          </a:xfrm>
          <a:prstGeom prst="rect">
            <a:avLst/>
          </a:prstGeom>
          <a:noFill/>
          <a:ln w="9525">
            <a:noFill/>
            <a:miter lim="800000"/>
            <a:headEnd/>
            <a:tailEnd/>
          </a:ln>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Bef>
                <a:spcPts val="0"/>
              </a:spcBef>
              <a:defRPr/>
            </a:pPr>
            <a:r>
              <a:rPr lang="es-ES_tradnl" sz="2800" b="1">
                <a:solidFill>
                  <a:srgbClr val="1F4E79"/>
                </a:solidFill>
                <a:latin typeface="gobCL"/>
                <a:cs typeface="Arial"/>
              </a:rPr>
              <a:t>Otras materias incluidas en el proyecto de ley</a:t>
            </a:r>
            <a:endParaRPr lang="es-ES" sz="1100">
              <a:solidFill>
                <a:srgbClr val="1F4E79"/>
              </a:solidFill>
            </a:endParaRPr>
          </a:p>
        </p:txBody>
      </p:sp>
      <p:sp>
        <p:nvSpPr>
          <p:cNvPr id="2" name="Elipse 1">
            <a:extLst>
              <a:ext uri="{FF2B5EF4-FFF2-40B4-BE49-F238E27FC236}">
                <a16:creationId xmlns:a16="http://schemas.microsoft.com/office/drawing/2014/main" id="{8E5597A5-CC58-3576-6398-FEDC87264D1F}"/>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 name="Marcador de número de diapositiva 2">
            <a:extLst>
              <a:ext uri="{FF2B5EF4-FFF2-40B4-BE49-F238E27FC236}">
                <a16:creationId xmlns:a16="http://schemas.microsoft.com/office/drawing/2014/main" id="{584791A0-A50F-778A-C577-71894AC021E5}"/>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31</a:t>
            </a:fld>
            <a:endParaRPr lang="en-US" b="1">
              <a:solidFill>
                <a:schemeClr val="bg1"/>
              </a:solidFill>
              <a:latin typeface="Calibri"/>
              <a:ea typeface="ヒラギノ角ゴ Pro W3"/>
              <a:cs typeface="Calibri"/>
            </a:endParaRPr>
          </a:p>
        </p:txBody>
      </p:sp>
    </p:spTree>
    <p:extLst>
      <p:ext uri="{BB962C8B-B14F-4D97-AF65-F5344CB8AC3E}">
        <p14:creationId xmlns:p14="http://schemas.microsoft.com/office/powerpoint/2010/main" val="4293016435"/>
      </p:ext>
    </p:extLst>
  </p:cSld>
  <p:clrMapOvr>
    <a:overrideClrMapping bg1="lt1" tx1="dk1" bg2="lt2" tx2="dk2" accent1="accent1" accent2="accent2" accent3="accent3" accent4="accent4" accent5="accent5" accent6="accent6" hlink="hlink" folHlink="folHlink"/>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2"/>
          <p:cNvSpPr/>
          <p:nvPr/>
        </p:nvSpPr>
        <p:spPr>
          <a:xfrm>
            <a:off x="622301" y="1336119"/>
            <a:ext cx="10274300" cy="5447645"/>
          </a:xfrm>
          <a:prstGeom prst="rect">
            <a:avLst/>
          </a:prstGeom>
        </p:spPr>
        <p:txBody>
          <a:bodyPr wrap="square" lIns="91440" tIns="45720" rIns="91440" bIns="45720" anchor="t">
            <a:spAutoFit/>
          </a:bodyPr>
          <a:lstStyle/>
          <a:p>
            <a:pPr lvl="0">
              <a:spcAft>
                <a:spcPts val="1200"/>
              </a:spcAft>
            </a:pPr>
            <a:r>
              <a:rPr lang="es-ES" sz="2000" b="1">
                <a:solidFill>
                  <a:srgbClr val="1F4E79"/>
                </a:solidFill>
                <a:latin typeface="gobCL"/>
                <a:ea typeface="Verdana"/>
                <a:cs typeface="Arial"/>
              </a:rPr>
              <a:t>5. Gestión y compromisos Ejecutivo LP2024</a:t>
            </a:r>
          </a:p>
          <a:p>
            <a:pPr marL="622300" lvl="1" indent="-165100">
              <a:spcAft>
                <a:spcPts val="600"/>
              </a:spcAft>
              <a:buFont typeface="Arial" panose="020B0604020202020204" pitchFamily="34" charset="0"/>
              <a:buChar char="•"/>
            </a:pPr>
            <a:r>
              <a:rPr lang="es-ES" b="1">
                <a:solidFill>
                  <a:srgbClr val="1F4E79"/>
                </a:solidFill>
                <a:latin typeface="gobCL"/>
              </a:rPr>
              <a:t>Bolsillo familiar electrónico: </a:t>
            </a:r>
            <a:r>
              <a:rPr lang="es-ES">
                <a:solidFill>
                  <a:srgbClr val="1F4E79"/>
                </a:solidFill>
                <a:latin typeface="gobCL"/>
              </a:rPr>
              <a:t>Se realizan ajustes para la implementación de la extensión del Bolsillo Familiar Electrónico a abril 2024 con recursos incorporados en Ley de Presupuestos. </a:t>
            </a:r>
          </a:p>
          <a:p>
            <a:pPr marL="622300" lvl="1" indent="-165100">
              <a:spcAft>
                <a:spcPts val="600"/>
              </a:spcAft>
              <a:buFont typeface="Arial" panose="020B0604020202020204" pitchFamily="34" charset="0"/>
              <a:buChar char="•"/>
            </a:pPr>
            <a:r>
              <a:rPr lang="es-CL" b="1">
                <a:solidFill>
                  <a:srgbClr val="1F4E79"/>
                </a:solidFill>
                <a:latin typeface="gobCL"/>
              </a:rPr>
              <a:t>Enrocados y electrificación rural </a:t>
            </a:r>
            <a:r>
              <a:rPr lang="es-CL">
                <a:solidFill>
                  <a:srgbClr val="1F4E79"/>
                </a:solidFill>
                <a:latin typeface="gobCL"/>
              </a:rPr>
              <a:t>(compromisos Ejecutivo LP2024)</a:t>
            </a:r>
          </a:p>
          <a:p>
            <a:pPr marL="622300" lvl="1" indent="-165100">
              <a:spcAft>
                <a:spcPts val="600"/>
              </a:spcAft>
              <a:buFont typeface="Arial" panose="020B0604020202020204" pitchFamily="34" charset="0"/>
              <a:buChar char="•"/>
            </a:pPr>
            <a:r>
              <a:rPr lang="es-ES" b="1">
                <a:solidFill>
                  <a:srgbClr val="1F4E79"/>
                </a:solidFill>
                <a:latin typeface="gobCL"/>
              </a:rPr>
              <a:t>Modificación de la fecha de traspaso del servicio educativo al SLE Chiloé</a:t>
            </a:r>
            <a:r>
              <a:rPr lang="es-ES">
                <a:solidFill>
                  <a:srgbClr val="1F4E79"/>
                </a:solidFill>
                <a:latin typeface="gobCL"/>
              </a:rPr>
              <a:t>: Establece que la entrada en funcionamiento del Servicio Local de Educación Pública de Chiloé para el 1 de marzo de 2024, y sus reglas de implementación.</a:t>
            </a:r>
          </a:p>
          <a:p>
            <a:pPr marL="622300" lvl="1" indent="-165100">
              <a:spcAft>
                <a:spcPts val="600"/>
              </a:spcAft>
              <a:buFont typeface="Arial" panose="020B0604020202020204" pitchFamily="34" charset="0"/>
              <a:buChar char="•"/>
            </a:pPr>
            <a:r>
              <a:rPr lang="es-ES" b="1">
                <a:solidFill>
                  <a:srgbClr val="1F4E79"/>
                </a:solidFill>
                <a:latin typeface="gobCL"/>
              </a:rPr>
              <a:t>Director Suplente: </a:t>
            </a:r>
            <a:r>
              <a:rPr lang="es-ES">
                <a:solidFill>
                  <a:srgbClr val="1F4E79"/>
                </a:solidFill>
                <a:latin typeface="gobCL"/>
              </a:rPr>
              <a:t>Se faculta el nombramiento de un Director Ejecutivo suplente en caso de vacancia en un SLEP. </a:t>
            </a:r>
          </a:p>
          <a:p>
            <a:pPr marL="622300" lvl="1" indent="-165100">
              <a:spcAft>
                <a:spcPts val="600"/>
              </a:spcAft>
              <a:buFont typeface="Arial" panose="020B0604020202020204" pitchFamily="34" charset="0"/>
              <a:buChar char="•"/>
            </a:pPr>
            <a:r>
              <a:rPr lang="es-ES" b="1">
                <a:solidFill>
                  <a:srgbClr val="1F4E79"/>
                </a:solidFill>
                <a:latin typeface="gobCL"/>
              </a:rPr>
              <a:t>Implementación </a:t>
            </a:r>
            <a:r>
              <a:rPr lang="es-ES" b="1" err="1">
                <a:solidFill>
                  <a:srgbClr val="1F4E79"/>
                </a:solidFill>
                <a:latin typeface="gobCL"/>
              </a:rPr>
              <a:t>SLEPs</a:t>
            </a:r>
            <a:r>
              <a:rPr lang="es-ES" b="1">
                <a:solidFill>
                  <a:srgbClr val="1F4E79"/>
                </a:solidFill>
                <a:latin typeface="gobCL"/>
              </a:rPr>
              <a:t>: </a:t>
            </a:r>
            <a:r>
              <a:rPr lang="es-ES">
                <a:solidFill>
                  <a:srgbClr val="1F4E79"/>
                </a:solidFill>
                <a:latin typeface="gobCL"/>
              </a:rPr>
              <a:t>Se establecen normas para facilitar el traspaso del servicio educativo, como ajustar las funciones de los DAEM, restringir el plazo en que pueden establecer acuerdos laborales que se traspasan al SLEP, y establecer que los municipios serán sucesores legales de las Corporaciones Municipales después del traspaso del servicio educativo. </a:t>
            </a:r>
          </a:p>
          <a:p>
            <a:pPr marL="622300" lvl="1" indent="-165100">
              <a:spcAft>
                <a:spcPts val="600"/>
              </a:spcAft>
              <a:buFont typeface="Arial" panose="020B0604020202020204" pitchFamily="34" charset="0"/>
              <a:buChar char="•"/>
            </a:pPr>
            <a:r>
              <a:rPr lang="es-ES" b="1">
                <a:solidFill>
                  <a:srgbClr val="1F4E79"/>
                </a:solidFill>
                <a:latin typeface="gobCL"/>
              </a:rPr>
              <a:t>Receso invernal JUNJI</a:t>
            </a:r>
            <a:r>
              <a:rPr lang="es-ES">
                <a:solidFill>
                  <a:srgbClr val="1F4E79"/>
                </a:solidFill>
                <a:latin typeface="gobCL"/>
              </a:rPr>
              <a:t>: </a:t>
            </a:r>
            <a:r>
              <a:rPr lang="es-CL">
                <a:solidFill>
                  <a:srgbClr val="1F4E79"/>
                </a:solidFill>
                <a:latin typeface="gobCL"/>
              </a:rPr>
              <a:t>suspensión de actividades regulares durante dos semanas en período invernal de cada año.</a:t>
            </a:r>
          </a:p>
          <a:p>
            <a:pPr marL="622300" lvl="1" indent="-165100">
              <a:spcAft>
                <a:spcPts val="600"/>
              </a:spcAft>
              <a:buFont typeface="Arial" panose="020B0604020202020204" pitchFamily="34" charset="0"/>
              <a:buChar char="•"/>
            </a:pPr>
            <a:r>
              <a:rPr lang="es-ES" b="1">
                <a:solidFill>
                  <a:srgbClr val="1F4E79"/>
                </a:solidFill>
                <a:latin typeface="gobCL"/>
              </a:rPr>
              <a:t>Reubicación de estudiantes en CFT estatales: </a:t>
            </a:r>
            <a:r>
              <a:rPr lang="es-ES">
                <a:solidFill>
                  <a:srgbClr val="1F4E79"/>
                </a:solidFill>
                <a:latin typeface="gobCL"/>
              </a:rPr>
              <a:t>Se autoriza la suscripción de convenios con CFT estatales, para asegurar la continuidad del servicio. </a:t>
            </a:r>
          </a:p>
        </p:txBody>
      </p:sp>
      <p:sp>
        <p:nvSpPr>
          <p:cNvPr id="5" name="Título 5">
            <a:extLst>
              <a:ext uri="{FF2B5EF4-FFF2-40B4-BE49-F238E27FC236}">
                <a16:creationId xmlns:a16="http://schemas.microsoft.com/office/drawing/2014/main" id="{A831AEE5-2A11-D47F-B7E7-F2F82B117773}"/>
              </a:ext>
            </a:extLst>
          </p:cNvPr>
          <p:cNvSpPr txBox="1">
            <a:spLocks/>
          </p:cNvSpPr>
          <p:nvPr/>
        </p:nvSpPr>
        <p:spPr>
          <a:xfrm>
            <a:off x="579745" y="392876"/>
            <a:ext cx="9432780" cy="415532"/>
          </a:xfrm>
          <a:prstGeom prst="rect">
            <a:avLst/>
          </a:prstGeom>
          <a:noFill/>
          <a:ln w="9525">
            <a:noFill/>
            <a:miter lim="800000"/>
            <a:headEnd/>
            <a:tailEnd/>
          </a:ln>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Bef>
                <a:spcPts val="0"/>
              </a:spcBef>
              <a:defRPr/>
            </a:pPr>
            <a:r>
              <a:rPr lang="es-ES_tradnl" sz="2800" b="1">
                <a:solidFill>
                  <a:srgbClr val="1F4E79"/>
                </a:solidFill>
                <a:latin typeface="gobCL"/>
                <a:cs typeface="Arial"/>
              </a:rPr>
              <a:t>Otras materias incluidas en el proyecto de ley</a:t>
            </a:r>
            <a:endParaRPr lang="es-ES" sz="1100">
              <a:solidFill>
                <a:srgbClr val="1F4E79"/>
              </a:solidFill>
            </a:endParaRPr>
          </a:p>
        </p:txBody>
      </p:sp>
      <p:sp>
        <p:nvSpPr>
          <p:cNvPr id="2" name="Elipse 1">
            <a:extLst>
              <a:ext uri="{FF2B5EF4-FFF2-40B4-BE49-F238E27FC236}">
                <a16:creationId xmlns:a16="http://schemas.microsoft.com/office/drawing/2014/main" id="{1F9F6097-BC91-40A9-4929-8DF0CAF08F66}"/>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 name="Marcador de número de diapositiva 2">
            <a:extLst>
              <a:ext uri="{FF2B5EF4-FFF2-40B4-BE49-F238E27FC236}">
                <a16:creationId xmlns:a16="http://schemas.microsoft.com/office/drawing/2014/main" id="{3AA0EFC6-2FFE-0201-F91F-A286D283D263}"/>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32</a:t>
            </a:fld>
            <a:endParaRPr lang="en-US" b="1">
              <a:solidFill>
                <a:schemeClr val="bg1"/>
              </a:solidFill>
              <a:latin typeface="Calibri"/>
              <a:ea typeface="ヒラギノ角ゴ Pro W3"/>
              <a:cs typeface="Calibri"/>
            </a:endParaRPr>
          </a:p>
        </p:txBody>
      </p:sp>
    </p:spTree>
    <p:extLst>
      <p:ext uri="{BB962C8B-B14F-4D97-AF65-F5344CB8AC3E}">
        <p14:creationId xmlns:p14="http://schemas.microsoft.com/office/powerpoint/2010/main" val="4172540067"/>
      </p:ext>
    </p:extLst>
  </p:cSld>
  <p:clrMapOvr>
    <a:overrideClrMapping bg1="lt1" tx1="dk1" bg2="lt2" tx2="dk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ángulo 2"/>
          <p:cNvSpPr/>
          <p:nvPr/>
        </p:nvSpPr>
        <p:spPr>
          <a:xfrm>
            <a:off x="533400" y="1298824"/>
            <a:ext cx="10363200" cy="4216539"/>
          </a:xfrm>
          <a:prstGeom prst="rect">
            <a:avLst/>
          </a:prstGeom>
        </p:spPr>
        <p:txBody>
          <a:bodyPr wrap="square" lIns="91440" tIns="45720" rIns="91440" bIns="45720" anchor="t">
            <a:spAutoFit/>
          </a:bodyPr>
          <a:lstStyle/>
          <a:p>
            <a:pPr lvl="0">
              <a:spcAft>
                <a:spcPts val="1200"/>
              </a:spcAft>
            </a:pPr>
            <a:r>
              <a:rPr lang="es-ES" sz="2000" b="1">
                <a:solidFill>
                  <a:srgbClr val="1F4E79"/>
                </a:solidFill>
                <a:latin typeface="gobCL"/>
                <a:ea typeface="Verdana"/>
                <a:cs typeface="Arial"/>
              </a:rPr>
              <a:t>6. Otras</a:t>
            </a:r>
            <a:endParaRPr lang="es-CL" sz="2200" b="1">
              <a:solidFill>
                <a:srgbClr val="1F4E79"/>
              </a:solidFill>
              <a:effectLst/>
              <a:latin typeface="gobCL"/>
              <a:ea typeface="Verdana"/>
              <a:cs typeface="Times New Roman"/>
            </a:endParaRPr>
          </a:p>
          <a:p>
            <a:pPr marL="800100" lvl="1" indent="-342900">
              <a:buFont typeface="Arial" panose="020B0604020202020204" pitchFamily="34" charset="0"/>
              <a:buChar char="•"/>
            </a:pPr>
            <a:r>
              <a:rPr lang="es-ES" b="1">
                <a:solidFill>
                  <a:srgbClr val="1F4E79"/>
                </a:solidFill>
                <a:latin typeface="gobCL"/>
              </a:rPr>
              <a:t>Procedimiento ICSA: </a:t>
            </a:r>
            <a:r>
              <a:rPr lang="es-ES">
                <a:solidFill>
                  <a:srgbClr val="1F4E79"/>
                </a:solidFill>
                <a:latin typeface="gobCL"/>
              </a:rPr>
              <a:t>Se modifica excepcionalmente para el año 2024 el procedimiento para la fijación del Índice de Costos de Salud (ICSA). Primero, no se considerará el costo de las nuevas prestaciones y la variación de frecuencia de uso de las prestaciones que se realicen en la modalidad de libre elección del Fondo Nacional de Salud. Segundo, se adelanta la dictación de la resolución al 20 de febrero, se reduce el plazo de respuesta de las compañías a cinco días y se deberán reajustar los precios en abril. Finalmente, la Superintendencia de Salud determinará el valor en UF que podrá incorporase a los planes para financiar la cobertura de las prestaciones de salud de las cargas menores de dos años de edad. </a:t>
            </a:r>
          </a:p>
          <a:p>
            <a:pPr marL="800100" lvl="1" indent="-342900">
              <a:buFont typeface="Arial" panose="020B0604020202020204" pitchFamily="34" charset="0"/>
              <a:buChar char="•"/>
            </a:pPr>
            <a:r>
              <a:rPr lang="es-ES" b="1">
                <a:solidFill>
                  <a:srgbClr val="1F4E79"/>
                </a:solidFill>
                <a:latin typeface="gobCL"/>
              </a:rPr>
              <a:t>Sanitarias municipales: </a:t>
            </a:r>
            <a:r>
              <a:rPr lang="es-ES">
                <a:solidFill>
                  <a:srgbClr val="1F4E79"/>
                </a:solidFill>
                <a:latin typeface="gobCL"/>
              </a:rPr>
              <a:t>Se autoriza a las municipalidades que tienen a su cargo servicios públicos destinados a producir y distribuir agua potable, recolectar y disponer aguas servidas, a celebrar operaciones de crédito público cuyo único objeto sea financiar los Aportes de Financiamientos Reembolsables dispuestos en el título II del DFL </a:t>
            </a:r>
            <a:r>
              <a:rPr lang="es-ES" err="1">
                <a:solidFill>
                  <a:srgbClr val="1F4E79"/>
                </a:solidFill>
                <a:latin typeface="gobCL"/>
              </a:rPr>
              <a:t>N°</a:t>
            </a:r>
            <a:r>
              <a:rPr lang="es-ES">
                <a:solidFill>
                  <a:srgbClr val="1F4E79"/>
                </a:solidFill>
                <a:latin typeface="gobCL"/>
              </a:rPr>
              <a:t> 70, de 1988, del MOP.</a:t>
            </a:r>
          </a:p>
          <a:p>
            <a:pPr marL="800100" lvl="1" indent="-342900">
              <a:buFont typeface="Arial" panose="020B0604020202020204" pitchFamily="34" charset="0"/>
              <a:buChar char="•"/>
            </a:pPr>
            <a:endParaRPr lang="es-ES" sz="2200" b="1">
              <a:solidFill>
                <a:schemeClr val="accent1">
                  <a:lumMod val="50000"/>
                </a:schemeClr>
              </a:solidFill>
              <a:latin typeface="gobCL"/>
            </a:endParaRPr>
          </a:p>
        </p:txBody>
      </p:sp>
      <p:sp>
        <p:nvSpPr>
          <p:cNvPr id="5" name="Título 5">
            <a:extLst>
              <a:ext uri="{FF2B5EF4-FFF2-40B4-BE49-F238E27FC236}">
                <a16:creationId xmlns:a16="http://schemas.microsoft.com/office/drawing/2014/main" id="{A831AEE5-2A11-D47F-B7E7-F2F82B117773}"/>
              </a:ext>
            </a:extLst>
          </p:cNvPr>
          <p:cNvSpPr txBox="1">
            <a:spLocks/>
          </p:cNvSpPr>
          <p:nvPr/>
        </p:nvSpPr>
        <p:spPr>
          <a:xfrm>
            <a:off x="567045" y="380176"/>
            <a:ext cx="9432780" cy="415532"/>
          </a:xfrm>
          <a:prstGeom prst="rect">
            <a:avLst/>
          </a:prstGeom>
          <a:noFill/>
          <a:ln w="9525">
            <a:noFill/>
            <a:miter lim="800000"/>
            <a:headEnd/>
            <a:tailEnd/>
          </a:ln>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Bef>
                <a:spcPts val="0"/>
              </a:spcBef>
              <a:defRPr/>
            </a:pPr>
            <a:r>
              <a:rPr lang="es-ES_tradnl" sz="2800" b="1">
                <a:solidFill>
                  <a:srgbClr val="1F4E79"/>
                </a:solidFill>
                <a:latin typeface="gobCL"/>
                <a:cs typeface="Arial"/>
              </a:rPr>
              <a:t>Otras materias incluidas en el proyecto de ley</a:t>
            </a:r>
            <a:endParaRPr lang="es-ES" sz="1100">
              <a:solidFill>
                <a:srgbClr val="1F4E79"/>
              </a:solidFill>
            </a:endParaRPr>
          </a:p>
        </p:txBody>
      </p:sp>
      <p:sp>
        <p:nvSpPr>
          <p:cNvPr id="2" name="Elipse 1">
            <a:extLst>
              <a:ext uri="{FF2B5EF4-FFF2-40B4-BE49-F238E27FC236}">
                <a16:creationId xmlns:a16="http://schemas.microsoft.com/office/drawing/2014/main" id="{527151A5-48A4-09A7-E254-E20C925B51D3}"/>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 name="Marcador de número de diapositiva 2">
            <a:extLst>
              <a:ext uri="{FF2B5EF4-FFF2-40B4-BE49-F238E27FC236}">
                <a16:creationId xmlns:a16="http://schemas.microsoft.com/office/drawing/2014/main" id="{ECFCE16D-A09E-0F70-7DC9-91EB060F3833}"/>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33</a:t>
            </a:fld>
            <a:endParaRPr lang="en-US" b="1">
              <a:solidFill>
                <a:schemeClr val="bg1"/>
              </a:solidFill>
              <a:latin typeface="Calibri"/>
              <a:ea typeface="ヒラギノ角ゴ Pro W3"/>
              <a:cs typeface="Calibri"/>
            </a:endParaRPr>
          </a:p>
        </p:txBody>
      </p:sp>
    </p:spTree>
    <p:extLst>
      <p:ext uri="{BB962C8B-B14F-4D97-AF65-F5344CB8AC3E}">
        <p14:creationId xmlns:p14="http://schemas.microsoft.com/office/powerpoint/2010/main" val="1988382518"/>
      </p:ext>
    </p:extLst>
  </p:cSld>
  <p:clrMapOvr>
    <a:overrideClrMapping bg1="lt1" tx1="dk1" bg2="lt2" tx2="dk2" accent1="accent1" accent2="accent2" accent3="accent3" accent4="accent4" accent5="accent5" accent6="accent6" hlink="hlink" folHlink="folHlink"/>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3 Rectángulo">
            <a:extLst>
              <a:ext uri="{FF2B5EF4-FFF2-40B4-BE49-F238E27FC236}">
                <a16:creationId xmlns:a16="http://schemas.microsoft.com/office/drawing/2014/main" id="{CAF03E3D-FCF5-6C31-7516-903BE9BEFBD2}"/>
              </a:ext>
            </a:extLst>
          </p:cNvPr>
          <p:cNvSpPr/>
          <p:nvPr/>
        </p:nvSpPr>
        <p:spPr>
          <a:xfrm>
            <a:off x="672231" y="5909764"/>
            <a:ext cx="10287000" cy="482453"/>
          </a:xfrm>
          <a:prstGeom prst="rect">
            <a:avLst/>
          </a:prstGeom>
          <a:solidFill>
            <a:srgbClr val="1F4E7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latin typeface="Verdana" panose="020B0604030504040204" pitchFamily="34" charset="0"/>
              <a:ea typeface="Verdana" panose="020B0604030504040204" pitchFamily="34" charset="0"/>
            </a:endParaRPr>
          </a:p>
        </p:txBody>
      </p:sp>
      <p:sp>
        <p:nvSpPr>
          <p:cNvPr id="9" name="1 Rectángulo">
            <a:extLst>
              <a:ext uri="{FF2B5EF4-FFF2-40B4-BE49-F238E27FC236}">
                <a16:creationId xmlns:a16="http://schemas.microsoft.com/office/drawing/2014/main" id="{A6A8AC91-66AF-FC49-426A-8FF1B4DEDD80}"/>
              </a:ext>
            </a:extLst>
          </p:cNvPr>
          <p:cNvSpPr/>
          <p:nvPr/>
        </p:nvSpPr>
        <p:spPr>
          <a:xfrm>
            <a:off x="561927" y="2930521"/>
            <a:ext cx="9628735" cy="3416320"/>
          </a:xfrm>
          <a:prstGeom prst="rect">
            <a:avLst/>
          </a:prstGeom>
        </p:spPr>
        <p:txBody>
          <a:bodyPr wrap="square" lIns="91440" tIns="45720" rIns="91440" bIns="45720" anchor="t">
            <a:spAutoFit/>
          </a:bodyPr>
          <a:lstStyle/>
          <a:p>
            <a:pPr marL="457200" indent="-342900">
              <a:buAutoNum type="arabicPeriod"/>
            </a:pPr>
            <a:r>
              <a:rPr lang="es-ES" sz="2400" dirty="0">
                <a:solidFill>
                  <a:srgbClr val="1F4E79"/>
                </a:solidFill>
                <a:latin typeface="gobCL"/>
                <a:ea typeface="Verdana"/>
                <a:cs typeface="Arial"/>
              </a:rPr>
              <a:t>Antecedentes de contexto </a:t>
            </a:r>
            <a:endParaRPr lang="es-ES" sz="2400" dirty="0">
              <a:solidFill>
                <a:srgbClr val="1F4E79"/>
              </a:solidFill>
              <a:latin typeface="gobCL"/>
              <a:ea typeface="Verdana" panose="020B0604030504040204" pitchFamily="34" charset="0"/>
              <a:cs typeface="Arial" panose="020B0604020202020204" pitchFamily="34" charset="0"/>
            </a:endParaRPr>
          </a:p>
          <a:p>
            <a:pPr marL="457200" indent="-342900">
              <a:buAutoNum type="arabicPeriod"/>
            </a:pPr>
            <a:endParaRPr lang="es-ES" sz="2400" dirty="0">
              <a:solidFill>
                <a:srgbClr val="1F4E79"/>
              </a:solidFill>
              <a:latin typeface="gobCL"/>
              <a:ea typeface="Verdana"/>
              <a:cs typeface="Arial"/>
            </a:endParaRPr>
          </a:p>
          <a:p>
            <a:pPr marL="457200" indent="-342900">
              <a:buFont typeface="+mj-lt"/>
              <a:buAutoNum type="arabicPeriod"/>
            </a:pPr>
            <a:r>
              <a:rPr lang="es-CL" sz="2400" dirty="0">
                <a:solidFill>
                  <a:srgbClr val="1F4E79"/>
                </a:solidFill>
                <a:latin typeface="gobCL"/>
                <a:ea typeface="Verdana"/>
                <a:cs typeface="Arial"/>
              </a:rPr>
              <a:t>Protocolo de Acuerdo del Reajuste General del Sector Público</a:t>
            </a:r>
          </a:p>
          <a:p>
            <a:pPr marL="457200" indent="-342900">
              <a:buAutoNum type="arabicPeriod"/>
            </a:pPr>
            <a:endParaRPr lang="es-CL" sz="2400" dirty="0">
              <a:solidFill>
                <a:srgbClr val="1F4E79"/>
              </a:solidFill>
              <a:latin typeface="gobCL"/>
              <a:ea typeface="Verdana"/>
              <a:cs typeface="Arial"/>
            </a:endParaRPr>
          </a:p>
          <a:p>
            <a:pPr marL="457200" indent="-342900">
              <a:buFont typeface="+mj-lt"/>
              <a:buAutoNum type="arabicPeriod"/>
            </a:pPr>
            <a:r>
              <a:rPr lang="es-CL" sz="2400" dirty="0">
                <a:solidFill>
                  <a:srgbClr val="1F4E79"/>
                </a:solidFill>
                <a:latin typeface="gobCL"/>
                <a:ea typeface="Verdana"/>
                <a:cs typeface="Arial"/>
              </a:rPr>
              <a:t>Agenda de trabajo 2023 – 2024</a:t>
            </a:r>
          </a:p>
          <a:p>
            <a:pPr marL="457200" indent="-342900">
              <a:buFont typeface="+mj-lt"/>
              <a:buAutoNum type="arabicPeriod"/>
            </a:pPr>
            <a:endParaRPr lang="es-CL" sz="2400" dirty="0">
              <a:solidFill>
                <a:srgbClr val="1F4E79"/>
              </a:solidFill>
              <a:latin typeface="gobCL"/>
              <a:ea typeface="Verdana"/>
              <a:cs typeface="Arial"/>
            </a:endParaRPr>
          </a:p>
          <a:p>
            <a:pPr marL="457200" indent="-342900">
              <a:buFont typeface="+mj-lt"/>
              <a:buAutoNum type="arabicPeriod"/>
            </a:pPr>
            <a:r>
              <a:rPr lang="es-CL" sz="2400" dirty="0">
                <a:solidFill>
                  <a:srgbClr val="1F4E79"/>
                </a:solidFill>
                <a:latin typeface="gobCL"/>
                <a:ea typeface="Verdana"/>
                <a:cs typeface="Arial"/>
              </a:rPr>
              <a:t>Principales materias del proyecto de ley</a:t>
            </a:r>
          </a:p>
          <a:p>
            <a:pPr marL="457200" indent="-342900">
              <a:buFontTx/>
              <a:buAutoNum type="arabicPeriod"/>
            </a:pPr>
            <a:endParaRPr lang="es-CL" sz="2400" dirty="0">
              <a:solidFill>
                <a:schemeClr val="accent1">
                  <a:lumMod val="50000"/>
                </a:schemeClr>
              </a:solidFill>
              <a:latin typeface="gobCL"/>
              <a:ea typeface="Verdana"/>
              <a:cs typeface="Arial"/>
            </a:endParaRPr>
          </a:p>
          <a:p>
            <a:pPr marL="457200" indent="-342900">
              <a:buFont typeface="+mj-lt"/>
              <a:buAutoNum type="arabicPeriod"/>
            </a:pPr>
            <a:r>
              <a:rPr lang="es-CL" sz="2400" dirty="0">
                <a:solidFill>
                  <a:schemeClr val="bg1"/>
                </a:solidFill>
                <a:latin typeface="gobCL"/>
                <a:ea typeface="Verdana"/>
                <a:cs typeface="Arial"/>
              </a:rPr>
              <a:t>Informe Financiero</a:t>
            </a:r>
            <a:endParaRPr lang="es-CL" sz="2400" dirty="0">
              <a:solidFill>
                <a:schemeClr val="bg1"/>
              </a:solidFill>
              <a:latin typeface="gobCL"/>
              <a:ea typeface="Verdana" panose="020B0604030504040204" pitchFamily="34" charset="0"/>
              <a:cs typeface="Arial" panose="020B0604020202020204" pitchFamily="34" charset="0"/>
            </a:endParaRPr>
          </a:p>
        </p:txBody>
      </p:sp>
      <p:sp>
        <p:nvSpPr>
          <p:cNvPr id="11" name="Shape 460">
            <a:extLst>
              <a:ext uri="{FF2B5EF4-FFF2-40B4-BE49-F238E27FC236}">
                <a16:creationId xmlns:a16="http://schemas.microsoft.com/office/drawing/2014/main" id="{4BE81623-A1A2-A2D0-758E-5512E3E6DF75}"/>
              </a:ext>
            </a:extLst>
          </p:cNvPr>
          <p:cNvSpPr/>
          <p:nvPr/>
        </p:nvSpPr>
        <p:spPr>
          <a:xfrm>
            <a:off x="573412" y="372620"/>
            <a:ext cx="2731922" cy="710270"/>
          </a:xfrm>
          <a:prstGeom prst="rect">
            <a:avLst/>
          </a:prstGeom>
          <a:extLst>
            <a:ext uri="{C572A759-6A51-4108-AA02-DFA0A04FC94B}">
              <ma14:wrappingTextBoxFlag xmlns:ma14="http://schemas.microsoft.com/office/mac/drawingml/2011/main" xmlns="" val="1"/>
            </a:ext>
          </a:extLst>
        </p:spPr>
        <p:txBody>
          <a:bodyPr vert="horz" lIns="91440" tIns="45720" rIns="91440" bIns="45720" rtlCol="0" anchor="t">
            <a:noAutofit/>
          </a:bodyPr>
          <a:lstStyle/>
          <a:p>
            <a:pPr>
              <a:lnSpc>
                <a:spcPct val="90000"/>
              </a:lnSpc>
              <a:spcBef>
                <a:spcPts val="1000"/>
              </a:spcBef>
            </a:pPr>
            <a:r>
              <a:rPr lang="es-CL" sz="2800" b="1">
                <a:solidFill>
                  <a:srgbClr val="1F4E79"/>
                </a:solidFill>
                <a:latin typeface="gobCL"/>
                <a:sym typeface="MyriadPro-SemiboldSemiCn"/>
              </a:rPr>
              <a:t>Agenda</a:t>
            </a:r>
            <a:endParaRPr lang="es-ES" sz="2800" b="1">
              <a:solidFill>
                <a:srgbClr val="1F4E79"/>
              </a:solidFill>
              <a:latin typeface="gobCL"/>
            </a:endParaRPr>
          </a:p>
        </p:txBody>
      </p:sp>
    </p:spTree>
    <p:extLst>
      <p:ext uri="{BB962C8B-B14F-4D97-AF65-F5344CB8AC3E}">
        <p14:creationId xmlns:p14="http://schemas.microsoft.com/office/powerpoint/2010/main" val="91301522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to 6" hidden="1"/>
          <p:cNvGraphicFramePr>
            <a:graphicFrameLocks noChangeAspect="1"/>
          </p:cNvGraphicFramePr>
          <p:nvPr>
            <p:custDataLst>
              <p:tags r:id="rId2"/>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270" imgH="270" progId="TCLayout.ActiveDocument.1">
                  <p:embed/>
                </p:oleObj>
              </mc:Choice>
              <mc:Fallback>
                <p:oleObj name="Diapositiva de think-cell" r:id="rId4" imgW="270" imgH="270" progId="TCLayout.ActiveDocument.1">
                  <p:embed/>
                  <p:pic>
                    <p:nvPicPr>
                      <p:cNvPr id="7" name="Objeto 6" hidden="1"/>
                      <p:cNvPicPr/>
                      <p:nvPr/>
                    </p:nvPicPr>
                    <p:blipFill>
                      <a:blip r:embed="rId5"/>
                      <a:stretch>
                        <a:fillRect/>
                      </a:stretch>
                    </p:blipFill>
                    <p:spPr>
                      <a:xfrm>
                        <a:off x="1525588" y="1588"/>
                        <a:ext cx="1588" cy="1588"/>
                      </a:xfrm>
                      <a:prstGeom prst="rect">
                        <a:avLst/>
                      </a:prstGeom>
                    </p:spPr>
                  </p:pic>
                </p:oleObj>
              </mc:Fallback>
            </mc:AlternateContent>
          </a:graphicData>
        </a:graphic>
      </p:graphicFrame>
      <p:graphicFrame>
        <p:nvGraphicFramePr>
          <p:cNvPr id="14" name="Tabla 13">
            <a:extLst>
              <a:ext uri="{FF2B5EF4-FFF2-40B4-BE49-F238E27FC236}">
                <a16:creationId xmlns:a16="http://schemas.microsoft.com/office/drawing/2014/main" id="{912526FA-C5EF-D8A1-E816-EFECB5624A1D}"/>
              </a:ext>
            </a:extLst>
          </p:cNvPr>
          <p:cNvGraphicFramePr>
            <a:graphicFrameLocks noGrp="1"/>
          </p:cNvGraphicFramePr>
          <p:nvPr>
            <p:extLst>
              <p:ext uri="{D42A27DB-BD31-4B8C-83A1-F6EECF244321}">
                <p14:modId xmlns:p14="http://schemas.microsoft.com/office/powerpoint/2010/main" val="528508483"/>
              </p:ext>
            </p:extLst>
          </p:nvPr>
        </p:nvGraphicFramePr>
        <p:xfrm>
          <a:off x="573412" y="1378317"/>
          <a:ext cx="4540125" cy="4743247"/>
        </p:xfrm>
        <a:graphic>
          <a:graphicData uri="http://schemas.openxmlformats.org/drawingml/2006/table">
            <a:tbl>
              <a:tblPr>
                <a:tableStyleId>{2D5ABB26-0587-4C30-8999-92F81FD0307C}</a:tableStyleId>
              </a:tblPr>
              <a:tblGrid>
                <a:gridCol w="3142295">
                  <a:extLst>
                    <a:ext uri="{9D8B030D-6E8A-4147-A177-3AD203B41FA5}">
                      <a16:colId xmlns:a16="http://schemas.microsoft.com/office/drawing/2014/main" val="512927389"/>
                    </a:ext>
                  </a:extLst>
                </a:gridCol>
                <a:gridCol w="698915">
                  <a:extLst>
                    <a:ext uri="{9D8B030D-6E8A-4147-A177-3AD203B41FA5}">
                      <a16:colId xmlns:a16="http://schemas.microsoft.com/office/drawing/2014/main" val="2193863954"/>
                    </a:ext>
                  </a:extLst>
                </a:gridCol>
                <a:gridCol w="698915">
                  <a:extLst>
                    <a:ext uri="{9D8B030D-6E8A-4147-A177-3AD203B41FA5}">
                      <a16:colId xmlns:a16="http://schemas.microsoft.com/office/drawing/2014/main" val="3565210031"/>
                    </a:ext>
                  </a:extLst>
                </a:gridCol>
              </a:tblGrid>
              <a:tr h="302397">
                <a:tc>
                  <a:txBody>
                    <a:bodyPr/>
                    <a:lstStyle/>
                    <a:p>
                      <a:pPr algn="l" fontAlgn="ctr"/>
                      <a:r>
                        <a:rPr lang="es-ES" sz="1200" b="1" u="none" strike="noStrike" kern="1200">
                          <a:solidFill>
                            <a:schemeClr val="bg1"/>
                          </a:solidFill>
                          <a:effectLst/>
                          <a:latin typeface="gobCL" pitchFamily="50" charset="0"/>
                        </a:rPr>
                        <a:t>COSTO FISCAL AÑO</a:t>
                      </a:r>
                      <a:endParaRPr lang="es-ES" sz="1200" b="1" i="0" u="none" strike="noStrike" kern="1200">
                        <a:solidFill>
                          <a:schemeClr val="bg1"/>
                        </a:solidFill>
                        <a:effectLst/>
                        <a:latin typeface="gobCL" pitchFamily="50" charset="0"/>
                        <a:ea typeface="+mn-ea"/>
                        <a:cs typeface="+mn-cs"/>
                      </a:endParaRPr>
                    </a:p>
                  </a:txBody>
                  <a:tcPr marL="0" marR="0" marT="0" marB="0" anchor="ctr">
                    <a:solidFill>
                      <a:srgbClr val="1F4E79"/>
                    </a:solidFill>
                  </a:tcPr>
                </a:tc>
                <a:tc>
                  <a:txBody>
                    <a:bodyPr/>
                    <a:lstStyle/>
                    <a:p>
                      <a:pPr algn="ctr" fontAlgn="ctr"/>
                      <a:r>
                        <a:rPr lang="es-ES" sz="1200" b="1" u="none" strike="noStrike" kern="1200">
                          <a:solidFill>
                            <a:schemeClr val="bg1"/>
                          </a:solidFill>
                          <a:effectLst/>
                          <a:latin typeface="gobCL" pitchFamily="50" charset="0"/>
                        </a:rPr>
                        <a:t>2023</a:t>
                      </a:r>
                      <a:endParaRPr lang="es-ES" sz="1200" b="1" i="0" u="none" strike="noStrike" kern="1200">
                        <a:solidFill>
                          <a:schemeClr val="bg1"/>
                        </a:solidFill>
                        <a:effectLst/>
                        <a:latin typeface="gobCL" pitchFamily="50" charset="0"/>
                        <a:ea typeface="+mn-ea"/>
                        <a:cs typeface="+mn-cs"/>
                      </a:endParaRPr>
                    </a:p>
                  </a:txBody>
                  <a:tcPr marL="0" marR="0" marT="0" marB="0" anchor="ctr">
                    <a:solidFill>
                      <a:srgbClr val="1F4E79"/>
                    </a:solidFill>
                  </a:tcPr>
                </a:tc>
                <a:tc>
                  <a:txBody>
                    <a:bodyPr/>
                    <a:lstStyle/>
                    <a:p>
                      <a:pPr algn="ctr" fontAlgn="ctr"/>
                      <a:r>
                        <a:rPr lang="es-ES" sz="1200" b="1" u="none" strike="noStrike" kern="1200">
                          <a:solidFill>
                            <a:schemeClr val="bg1"/>
                          </a:solidFill>
                          <a:effectLst/>
                          <a:latin typeface="gobCL" pitchFamily="50" charset="0"/>
                        </a:rPr>
                        <a:t>2024</a:t>
                      </a:r>
                      <a:endParaRPr lang="es-ES" sz="1200" b="1" i="0" u="none" strike="noStrike" kern="1200">
                        <a:solidFill>
                          <a:schemeClr val="bg1"/>
                        </a:solidFill>
                        <a:effectLst/>
                        <a:latin typeface="gobCL" pitchFamily="50" charset="0"/>
                        <a:ea typeface="+mn-ea"/>
                        <a:cs typeface="+mn-cs"/>
                      </a:endParaRPr>
                    </a:p>
                  </a:txBody>
                  <a:tcPr marL="0" marR="0" marT="0" marB="0" anchor="ctr">
                    <a:solidFill>
                      <a:srgbClr val="1F4E79"/>
                    </a:solidFill>
                  </a:tcPr>
                </a:tc>
                <a:extLst>
                  <a:ext uri="{0D108BD9-81ED-4DB2-BD59-A6C34878D82A}">
                    <a16:rowId xmlns:a16="http://schemas.microsoft.com/office/drawing/2014/main" val="3655331351"/>
                  </a:ext>
                </a:extLst>
              </a:tr>
              <a:tr h="177634">
                <a:tc>
                  <a:txBody>
                    <a:bodyPr/>
                    <a:lstStyle/>
                    <a:p>
                      <a:pPr algn="l" fontAlgn="b"/>
                      <a:r>
                        <a:rPr lang="es-ES" sz="1100" b="1" u="none" strike="noStrike" kern="1200">
                          <a:solidFill>
                            <a:srgbClr val="1F4E79"/>
                          </a:solidFill>
                          <a:effectLst/>
                          <a:latin typeface="gobCL" pitchFamily="50" charset="0"/>
                        </a:rPr>
                        <a:t>Reajuste Remuneraciones y Subvenciones</a:t>
                      </a:r>
                      <a:endParaRPr lang="es-ES" sz="1100" b="1" i="0" u="none" strike="noStrike" kern="1200">
                        <a:solidFill>
                          <a:srgbClr val="1F4E79"/>
                        </a:solidFill>
                        <a:effectLst/>
                        <a:latin typeface="gobCL" pitchFamily="50" charset="0"/>
                        <a:ea typeface="+mn-ea"/>
                        <a:cs typeface="+mn-cs"/>
                      </a:endParaRPr>
                    </a:p>
                  </a:txBody>
                  <a:tcPr marL="0" marR="0" marT="0" marB="0" anchor="b"/>
                </a:tc>
                <a:tc>
                  <a:txBody>
                    <a:bodyPr/>
                    <a:lstStyle/>
                    <a:p>
                      <a:pPr algn="ctr" fontAlgn="b"/>
                      <a:r>
                        <a:rPr lang="es-ES" sz="1100" b="1" u="none" strike="noStrike" kern="1200">
                          <a:solidFill>
                            <a:srgbClr val="1F4E79"/>
                          </a:solidFill>
                          <a:effectLst/>
                          <a:latin typeface="gobCL" pitchFamily="50" charset="0"/>
                        </a:rPr>
                        <a:t>85.731</a:t>
                      </a:r>
                      <a:endParaRPr lang="es-ES" sz="1100" b="1" i="0" u="none" strike="noStrike" kern="1200">
                        <a:solidFill>
                          <a:srgbClr val="1F4E79"/>
                        </a:solidFill>
                        <a:effectLst/>
                        <a:latin typeface="gobCL" pitchFamily="50" charset="0"/>
                        <a:ea typeface="+mn-ea"/>
                        <a:cs typeface="+mn-cs"/>
                      </a:endParaRPr>
                    </a:p>
                  </a:txBody>
                  <a:tcPr marL="0" marR="0" marT="0" marB="0" anchor="ctr"/>
                </a:tc>
                <a:tc>
                  <a:txBody>
                    <a:bodyPr/>
                    <a:lstStyle/>
                    <a:p>
                      <a:pPr algn="ctr" fontAlgn="b"/>
                      <a:r>
                        <a:rPr lang="es-ES" sz="1100" b="1" u="none" strike="noStrike" kern="1200">
                          <a:solidFill>
                            <a:srgbClr val="1F4E79"/>
                          </a:solidFill>
                          <a:effectLst/>
                          <a:latin typeface="gobCL" pitchFamily="50" charset="0"/>
                        </a:rPr>
                        <a:t>1.078.788</a:t>
                      </a:r>
                      <a:endParaRPr lang="es-ES" sz="1100" b="1" i="0" u="none" strike="noStrike" kern="1200">
                        <a:solidFill>
                          <a:srgbClr val="1F4E79"/>
                        </a:solidFill>
                        <a:effectLst/>
                        <a:latin typeface="gobCL" pitchFamily="50" charset="0"/>
                        <a:ea typeface="+mn-ea"/>
                        <a:cs typeface="+mn-cs"/>
                      </a:endParaRPr>
                    </a:p>
                  </a:txBody>
                  <a:tcPr marL="0" marR="0" marT="0" marB="0" anchor="ctr"/>
                </a:tc>
                <a:extLst>
                  <a:ext uri="{0D108BD9-81ED-4DB2-BD59-A6C34878D82A}">
                    <a16:rowId xmlns:a16="http://schemas.microsoft.com/office/drawing/2014/main" val="3390275761"/>
                  </a:ext>
                </a:extLst>
              </a:tr>
              <a:tr h="355268">
                <a:tc>
                  <a:txBody>
                    <a:bodyPr/>
                    <a:lstStyle/>
                    <a:p>
                      <a:pPr algn="l" fontAlgn="b"/>
                      <a:r>
                        <a:rPr lang="es-ES" sz="1100" b="1" u="none" strike="noStrike" kern="1200">
                          <a:solidFill>
                            <a:srgbClr val="1F4E79"/>
                          </a:solidFill>
                          <a:effectLst/>
                          <a:latin typeface="gobCL" pitchFamily="50" charset="0"/>
                        </a:rPr>
                        <a:t>Aguinaldos Navidad y Fiestas Patrias Sector Activo</a:t>
                      </a:r>
                      <a:endParaRPr lang="es-ES" sz="1100" b="1" i="0" u="none" strike="noStrike" kern="1200">
                        <a:solidFill>
                          <a:srgbClr val="1F4E79"/>
                        </a:solidFill>
                        <a:effectLst/>
                        <a:latin typeface="gobCL" pitchFamily="50" charset="0"/>
                        <a:ea typeface="+mn-ea"/>
                        <a:cs typeface="+mn-cs"/>
                      </a:endParaRPr>
                    </a:p>
                  </a:txBody>
                  <a:tcPr marL="0" marR="0" marT="0" marB="0" anchor="b"/>
                </a:tc>
                <a:tc>
                  <a:txBody>
                    <a:bodyPr/>
                    <a:lstStyle/>
                    <a:p>
                      <a:pPr algn="ctr" fontAlgn="b"/>
                      <a:endParaRPr lang="es-ES" sz="1100" b="1" u="none" strike="noStrike" kern="1200">
                        <a:solidFill>
                          <a:srgbClr val="1F4E79"/>
                        </a:solidFill>
                        <a:effectLst/>
                        <a:latin typeface="gobCL" pitchFamily="50" charset="0"/>
                      </a:endParaRPr>
                    </a:p>
                    <a:p>
                      <a:pPr algn="ctr" fontAlgn="b"/>
                      <a:r>
                        <a:rPr lang="es-ES" sz="1100" b="1" u="none" strike="noStrike" kern="1200">
                          <a:solidFill>
                            <a:srgbClr val="1F4E79"/>
                          </a:solidFill>
                          <a:effectLst/>
                          <a:latin typeface="gobCL" pitchFamily="50" charset="0"/>
                        </a:rPr>
                        <a:t>57.864</a:t>
                      </a:r>
                      <a:endParaRPr lang="es-ES" sz="1100" b="1" i="0" u="none" strike="noStrike" kern="1200">
                        <a:solidFill>
                          <a:srgbClr val="1F4E79"/>
                        </a:solidFill>
                        <a:effectLst/>
                        <a:latin typeface="gobCL" pitchFamily="50" charset="0"/>
                        <a:ea typeface="+mn-ea"/>
                        <a:cs typeface="+mn-cs"/>
                      </a:endParaRPr>
                    </a:p>
                  </a:txBody>
                  <a:tcPr marL="0" marR="0" marT="0" marB="0" anchor="ctr"/>
                </a:tc>
                <a:tc>
                  <a:txBody>
                    <a:bodyPr/>
                    <a:lstStyle/>
                    <a:p>
                      <a:pPr algn="ctr" fontAlgn="b"/>
                      <a:endParaRPr lang="es-ES" sz="1100" b="1" u="none" strike="noStrike" kern="1200">
                        <a:solidFill>
                          <a:srgbClr val="1F4E79"/>
                        </a:solidFill>
                        <a:effectLst/>
                        <a:latin typeface="gobCL" pitchFamily="50" charset="0"/>
                      </a:endParaRPr>
                    </a:p>
                    <a:p>
                      <a:pPr algn="ctr" fontAlgn="b"/>
                      <a:r>
                        <a:rPr lang="es-ES" sz="1100" b="1" u="none" strike="noStrike" kern="1200">
                          <a:solidFill>
                            <a:srgbClr val="1F4E79"/>
                          </a:solidFill>
                          <a:effectLst/>
                          <a:latin typeface="gobCL" pitchFamily="50" charset="0"/>
                        </a:rPr>
                        <a:t>81.024</a:t>
                      </a:r>
                      <a:endParaRPr lang="es-ES" sz="1100" b="1" i="0" u="none" strike="noStrike" kern="1200">
                        <a:solidFill>
                          <a:srgbClr val="1F4E79"/>
                        </a:solidFill>
                        <a:effectLst/>
                        <a:latin typeface="gobCL" pitchFamily="50" charset="0"/>
                        <a:ea typeface="+mn-ea"/>
                        <a:cs typeface="+mn-cs"/>
                      </a:endParaRPr>
                    </a:p>
                  </a:txBody>
                  <a:tcPr marL="0" marR="0" marT="0" marB="0" anchor="ctr"/>
                </a:tc>
                <a:extLst>
                  <a:ext uri="{0D108BD9-81ED-4DB2-BD59-A6C34878D82A}">
                    <a16:rowId xmlns:a16="http://schemas.microsoft.com/office/drawing/2014/main" val="2515939538"/>
                  </a:ext>
                </a:extLst>
              </a:tr>
              <a:tr h="177634">
                <a:tc>
                  <a:txBody>
                    <a:bodyPr/>
                    <a:lstStyle/>
                    <a:p>
                      <a:pPr algn="l" fontAlgn="b"/>
                      <a:r>
                        <a:rPr lang="es-ES" sz="1100" b="1" u="none" strike="noStrike" kern="1200">
                          <a:solidFill>
                            <a:srgbClr val="1F4E79"/>
                          </a:solidFill>
                          <a:effectLst/>
                          <a:latin typeface="gobCL" pitchFamily="50" charset="0"/>
                        </a:rPr>
                        <a:t>Bono Especial</a:t>
                      </a:r>
                      <a:endParaRPr lang="es-ES" sz="1100" b="1" i="0" u="none" strike="noStrike" kern="1200">
                        <a:solidFill>
                          <a:srgbClr val="1F4E79"/>
                        </a:solidFill>
                        <a:effectLst/>
                        <a:latin typeface="gobCL" pitchFamily="50" charset="0"/>
                        <a:ea typeface="+mn-ea"/>
                        <a:cs typeface="+mn-cs"/>
                      </a:endParaRPr>
                    </a:p>
                  </a:txBody>
                  <a:tcPr marL="0" marR="0" marT="0" marB="0" anchor="b"/>
                </a:tc>
                <a:tc>
                  <a:txBody>
                    <a:bodyPr/>
                    <a:lstStyle/>
                    <a:p>
                      <a:pPr algn="ctr" fontAlgn="b"/>
                      <a:r>
                        <a:rPr lang="es-ES" sz="1100" b="1" u="none" strike="noStrike" kern="1200">
                          <a:solidFill>
                            <a:srgbClr val="1F4E79"/>
                          </a:solidFill>
                          <a:effectLst/>
                          <a:latin typeface="gobCL" pitchFamily="50" charset="0"/>
                        </a:rPr>
                        <a:t>165.216</a:t>
                      </a:r>
                      <a:endParaRPr lang="es-ES" sz="1100" b="1" i="0" u="none" strike="noStrike" kern="1200">
                        <a:solidFill>
                          <a:srgbClr val="1F4E79"/>
                        </a:solidFill>
                        <a:effectLst/>
                        <a:latin typeface="gobCL" pitchFamily="50" charset="0"/>
                        <a:ea typeface="+mn-ea"/>
                        <a:cs typeface="+mn-cs"/>
                      </a:endParaRPr>
                    </a:p>
                  </a:txBody>
                  <a:tcPr marL="0" marR="0" marT="0" marB="0" anchor="ctr"/>
                </a:tc>
                <a:tc>
                  <a:txBody>
                    <a:bodyPr/>
                    <a:lstStyle/>
                    <a:p>
                      <a:pPr algn="ctr" fontAlgn="b"/>
                      <a:r>
                        <a:rPr lang="es-ES" sz="1100" b="1" u="none" strike="noStrike" kern="1200">
                          <a:solidFill>
                            <a:srgbClr val="1F4E79"/>
                          </a:solidFill>
                          <a:effectLst/>
                          <a:latin typeface="gobCL" pitchFamily="50" charset="0"/>
                        </a:rPr>
                        <a:t> </a:t>
                      </a:r>
                      <a:endParaRPr lang="es-ES" sz="1100" b="1" i="0" u="none" strike="noStrike" kern="1200">
                        <a:solidFill>
                          <a:srgbClr val="1F4E79"/>
                        </a:solidFill>
                        <a:effectLst/>
                        <a:latin typeface="gobCL" pitchFamily="50" charset="0"/>
                        <a:ea typeface="+mn-ea"/>
                        <a:cs typeface="+mn-cs"/>
                      </a:endParaRPr>
                    </a:p>
                  </a:txBody>
                  <a:tcPr marL="0" marR="0" marT="0" marB="0" anchor="ctr"/>
                </a:tc>
                <a:extLst>
                  <a:ext uri="{0D108BD9-81ED-4DB2-BD59-A6C34878D82A}">
                    <a16:rowId xmlns:a16="http://schemas.microsoft.com/office/drawing/2014/main" val="1054266895"/>
                  </a:ext>
                </a:extLst>
              </a:tr>
              <a:tr h="177634">
                <a:tc>
                  <a:txBody>
                    <a:bodyPr/>
                    <a:lstStyle/>
                    <a:p>
                      <a:pPr algn="l" fontAlgn="b"/>
                      <a:r>
                        <a:rPr lang="es-ES" sz="1100" b="1" u="none" strike="noStrike" kern="1200">
                          <a:solidFill>
                            <a:srgbClr val="1F4E79"/>
                          </a:solidFill>
                          <a:effectLst/>
                          <a:latin typeface="gobCL" pitchFamily="50" charset="0"/>
                        </a:rPr>
                        <a:t>Bono de Escolaridad</a:t>
                      </a:r>
                      <a:endParaRPr lang="es-ES" sz="1100" b="1" i="0" u="none" strike="noStrike" kern="1200">
                        <a:solidFill>
                          <a:srgbClr val="1F4E79"/>
                        </a:solidFill>
                        <a:effectLst/>
                        <a:latin typeface="gobCL" pitchFamily="50" charset="0"/>
                        <a:ea typeface="+mn-ea"/>
                        <a:cs typeface="+mn-cs"/>
                      </a:endParaRPr>
                    </a:p>
                  </a:txBody>
                  <a:tcPr marL="0" marR="0" marT="0" marB="0" anchor="b"/>
                </a:tc>
                <a:tc>
                  <a:txBody>
                    <a:bodyPr/>
                    <a:lstStyle/>
                    <a:p>
                      <a:pPr algn="ctr" fontAlgn="b"/>
                      <a:r>
                        <a:rPr lang="es-ES" sz="1100" b="1" u="none" strike="noStrike" kern="1200">
                          <a:solidFill>
                            <a:srgbClr val="1F4E79"/>
                          </a:solidFill>
                          <a:effectLst/>
                          <a:latin typeface="gobCL" pitchFamily="50" charset="0"/>
                        </a:rPr>
                        <a:t> </a:t>
                      </a:r>
                      <a:endParaRPr lang="es-ES" sz="1100" b="1" i="0" u="none" strike="noStrike" kern="1200">
                        <a:solidFill>
                          <a:srgbClr val="1F4E79"/>
                        </a:solidFill>
                        <a:effectLst/>
                        <a:latin typeface="gobCL" pitchFamily="50" charset="0"/>
                        <a:ea typeface="+mn-ea"/>
                        <a:cs typeface="+mn-cs"/>
                      </a:endParaRPr>
                    </a:p>
                  </a:txBody>
                  <a:tcPr marL="0" marR="0" marT="0" marB="0" anchor="ctr"/>
                </a:tc>
                <a:tc>
                  <a:txBody>
                    <a:bodyPr/>
                    <a:lstStyle/>
                    <a:p>
                      <a:pPr algn="ctr" fontAlgn="b"/>
                      <a:r>
                        <a:rPr lang="es-ES" sz="1100" b="1" u="none" strike="noStrike" kern="1200">
                          <a:solidFill>
                            <a:srgbClr val="1F4E79"/>
                          </a:solidFill>
                          <a:effectLst/>
                          <a:latin typeface="gobCL" pitchFamily="50" charset="0"/>
                        </a:rPr>
                        <a:t>51.544</a:t>
                      </a:r>
                      <a:endParaRPr lang="es-ES" sz="1100" b="1" i="0" u="none" strike="noStrike" kern="1200">
                        <a:solidFill>
                          <a:srgbClr val="1F4E79"/>
                        </a:solidFill>
                        <a:effectLst/>
                        <a:latin typeface="gobCL" pitchFamily="50" charset="0"/>
                        <a:ea typeface="+mn-ea"/>
                        <a:cs typeface="+mn-cs"/>
                      </a:endParaRPr>
                    </a:p>
                  </a:txBody>
                  <a:tcPr marL="0" marR="0" marT="0" marB="0" anchor="ctr"/>
                </a:tc>
                <a:extLst>
                  <a:ext uri="{0D108BD9-81ED-4DB2-BD59-A6C34878D82A}">
                    <a16:rowId xmlns:a16="http://schemas.microsoft.com/office/drawing/2014/main" val="3749399881"/>
                  </a:ext>
                </a:extLst>
              </a:tr>
              <a:tr h="177634">
                <a:tc>
                  <a:txBody>
                    <a:bodyPr/>
                    <a:lstStyle/>
                    <a:p>
                      <a:pPr algn="l" fontAlgn="b"/>
                      <a:r>
                        <a:rPr lang="es-ES" sz="1050" b="0" i="1" u="none" strike="noStrike" kern="1200">
                          <a:solidFill>
                            <a:srgbClr val="1F4E79"/>
                          </a:solidFill>
                          <a:effectLst/>
                          <a:latin typeface="gobCL" pitchFamily="50" charset="0"/>
                        </a:rPr>
                        <a:t>Bono de Escolaridad Normal y adicional</a:t>
                      </a:r>
                      <a:endParaRPr lang="es-ES" sz="1050" b="0" i="1" u="none" strike="noStrike" kern="1200">
                        <a:solidFill>
                          <a:srgbClr val="1F4E79"/>
                        </a:solidFill>
                        <a:effectLst/>
                        <a:latin typeface="gobCL" pitchFamily="50" charset="0"/>
                        <a:ea typeface="+mn-ea"/>
                        <a:cs typeface="+mn-cs"/>
                      </a:endParaRPr>
                    </a:p>
                  </a:txBody>
                  <a:tcPr marL="0" marR="0" marT="0" marB="0" anchor="b"/>
                </a:tc>
                <a:tc>
                  <a:txBody>
                    <a:bodyPr/>
                    <a:lstStyle/>
                    <a:p>
                      <a:pPr algn="ctr" fontAlgn="b"/>
                      <a:r>
                        <a:rPr lang="es-ES" sz="1050" b="0" i="1" u="none" strike="noStrike" kern="1200">
                          <a:solidFill>
                            <a:srgbClr val="1F4E79"/>
                          </a:solidFill>
                          <a:effectLst/>
                          <a:latin typeface="gobCL" pitchFamily="50" charset="0"/>
                        </a:rPr>
                        <a:t> </a:t>
                      </a:r>
                      <a:endParaRPr lang="es-ES" sz="1050" b="0" i="1" u="none" strike="noStrike" kern="1200">
                        <a:solidFill>
                          <a:srgbClr val="1F4E79"/>
                        </a:solidFill>
                        <a:effectLst/>
                        <a:latin typeface="gobCL" pitchFamily="50" charset="0"/>
                        <a:ea typeface="+mn-ea"/>
                        <a:cs typeface="+mn-cs"/>
                      </a:endParaRPr>
                    </a:p>
                  </a:txBody>
                  <a:tcPr marL="0" marR="0" marT="0" marB="0" anchor="ctr"/>
                </a:tc>
                <a:tc>
                  <a:txBody>
                    <a:bodyPr/>
                    <a:lstStyle/>
                    <a:p>
                      <a:pPr algn="ctr" fontAlgn="b"/>
                      <a:r>
                        <a:rPr lang="es-ES" sz="1050" b="0" i="1" u="none" strike="noStrike" kern="1200">
                          <a:solidFill>
                            <a:srgbClr val="1F4E79"/>
                          </a:solidFill>
                          <a:effectLst/>
                          <a:latin typeface="gobCL" pitchFamily="50" charset="0"/>
                        </a:rPr>
                        <a:t>50.392</a:t>
                      </a:r>
                      <a:endParaRPr lang="es-ES" sz="1050" b="0" i="1" u="none" strike="noStrike" kern="1200">
                        <a:solidFill>
                          <a:srgbClr val="1F4E79"/>
                        </a:solidFill>
                        <a:effectLst/>
                        <a:latin typeface="gobCL" pitchFamily="50" charset="0"/>
                        <a:ea typeface="+mn-ea"/>
                        <a:cs typeface="+mn-cs"/>
                      </a:endParaRPr>
                    </a:p>
                  </a:txBody>
                  <a:tcPr marL="0" marR="0" marT="0" marB="0" anchor="ctr"/>
                </a:tc>
                <a:extLst>
                  <a:ext uri="{0D108BD9-81ED-4DB2-BD59-A6C34878D82A}">
                    <a16:rowId xmlns:a16="http://schemas.microsoft.com/office/drawing/2014/main" val="3639083333"/>
                  </a:ext>
                </a:extLst>
              </a:tr>
              <a:tr h="177634">
                <a:tc>
                  <a:txBody>
                    <a:bodyPr/>
                    <a:lstStyle/>
                    <a:p>
                      <a:pPr algn="l" fontAlgn="b"/>
                      <a:r>
                        <a:rPr lang="es-ES" sz="1050" b="0" i="1" u="none" strike="noStrike" kern="1200">
                          <a:solidFill>
                            <a:srgbClr val="1F4E79"/>
                          </a:solidFill>
                          <a:effectLst/>
                          <a:latin typeface="gobCL" pitchFamily="50" charset="0"/>
                        </a:rPr>
                        <a:t>Bono de Escolaridad Universidades Estatales</a:t>
                      </a:r>
                      <a:endParaRPr lang="es-ES" sz="1050" b="0" i="1" u="none" strike="noStrike" kern="1200">
                        <a:solidFill>
                          <a:srgbClr val="1F4E79"/>
                        </a:solidFill>
                        <a:effectLst/>
                        <a:latin typeface="gobCL" pitchFamily="50" charset="0"/>
                        <a:ea typeface="+mn-ea"/>
                        <a:cs typeface="+mn-cs"/>
                      </a:endParaRPr>
                    </a:p>
                  </a:txBody>
                  <a:tcPr marL="0" marR="0" marT="0" marB="0" anchor="b"/>
                </a:tc>
                <a:tc>
                  <a:txBody>
                    <a:bodyPr/>
                    <a:lstStyle/>
                    <a:p>
                      <a:pPr algn="ctr" fontAlgn="b"/>
                      <a:r>
                        <a:rPr lang="es-ES" sz="1050" b="0" i="1" u="none" strike="noStrike" kern="1200">
                          <a:solidFill>
                            <a:srgbClr val="1F4E79"/>
                          </a:solidFill>
                          <a:effectLst/>
                          <a:latin typeface="gobCL" pitchFamily="50" charset="0"/>
                        </a:rPr>
                        <a:t> </a:t>
                      </a:r>
                      <a:endParaRPr lang="es-ES" sz="1050" b="0" i="1" u="none" strike="noStrike" kern="1200">
                        <a:solidFill>
                          <a:srgbClr val="1F4E79"/>
                        </a:solidFill>
                        <a:effectLst/>
                        <a:latin typeface="gobCL" pitchFamily="50" charset="0"/>
                        <a:ea typeface="+mn-ea"/>
                        <a:cs typeface="+mn-cs"/>
                      </a:endParaRPr>
                    </a:p>
                  </a:txBody>
                  <a:tcPr marL="0" marR="0" marT="0" marB="0" anchor="ctr"/>
                </a:tc>
                <a:tc>
                  <a:txBody>
                    <a:bodyPr/>
                    <a:lstStyle/>
                    <a:p>
                      <a:pPr algn="ctr" fontAlgn="b"/>
                      <a:r>
                        <a:rPr lang="es-ES" sz="1050" b="0" i="1" u="none" strike="noStrike" kern="1200">
                          <a:solidFill>
                            <a:srgbClr val="1F4E79"/>
                          </a:solidFill>
                          <a:effectLst/>
                          <a:latin typeface="gobCL" pitchFamily="50" charset="0"/>
                        </a:rPr>
                        <a:t>1.152</a:t>
                      </a:r>
                      <a:endParaRPr lang="es-ES" sz="1050" b="0" i="1" u="none" strike="noStrike" kern="1200">
                        <a:solidFill>
                          <a:srgbClr val="1F4E79"/>
                        </a:solidFill>
                        <a:effectLst/>
                        <a:latin typeface="gobCL" pitchFamily="50" charset="0"/>
                        <a:ea typeface="+mn-ea"/>
                        <a:cs typeface="+mn-cs"/>
                      </a:endParaRPr>
                    </a:p>
                  </a:txBody>
                  <a:tcPr marL="0" marR="0" marT="0" marB="0" anchor="ctr"/>
                </a:tc>
                <a:extLst>
                  <a:ext uri="{0D108BD9-81ED-4DB2-BD59-A6C34878D82A}">
                    <a16:rowId xmlns:a16="http://schemas.microsoft.com/office/drawing/2014/main" val="3511115217"/>
                  </a:ext>
                </a:extLst>
              </a:tr>
              <a:tr h="177634">
                <a:tc>
                  <a:txBody>
                    <a:bodyPr/>
                    <a:lstStyle/>
                    <a:p>
                      <a:pPr algn="l" fontAlgn="b"/>
                      <a:r>
                        <a:rPr lang="es-ES" sz="1100" b="1" u="none" strike="noStrike" kern="1200">
                          <a:solidFill>
                            <a:srgbClr val="1F4E79"/>
                          </a:solidFill>
                          <a:effectLst/>
                          <a:latin typeface="gobCL" pitchFamily="50" charset="0"/>
                        </a:rPr>
                        <a:t>Bono de Vacaciones Sector Activo</a:t>
                      </a:r>
                      <a:endParaRPr lang="es-ES" sz="1100" b="1" i="0" u="none" strike="noStrike" kern="1200">
                        <a:solidFill>
                          <a:srgbClr val="1F4E79"/>
                        </a:solidFill>
                        <a:effectLst/>
                        <a:latin typeface="gobCL" pitchFamily="50" charset="0"/>
                        <a:ea typeface="+mn-ea"/>
                        <a:cs typeface="+mn-cs"/>
                      </a:endParaRPr>
                    </a:p>
                  </a:txBody>
                  <a:tcPr marL="0" marR="0" marT="0" marB="0" anchor="b"/>
                </a:tc>
                <a:tc>
                  <a:txBody>
                    <a:bodyPr/>
                    <a:lstStyle/>
                    <a:p>
                      <a:pPr algn="ctr" fontAlgn="b"/>
                      <a:r>
                        <a:rPr lang="es-ES" sz="1100" b="1" u="none" strike="noStrike" kern="1200">
                          <a:solidFill>
                            <a:srgbClr val="1F4E79"/>
                          </a:solidFill>
                          <a:effectLst/>
                          <a:latin typeface="gobCL" pitchFamily="50" charset="0"/>
                        </a:rPr>
                        <a:t> </a:t>
                      </a:r>
                      <a:endParaRPr lang="es-ES" sz="1100" b="1" i="0" u="none" strike="noStrike" kern="1200">
                        <a:solidFill>
                          <a:srgbClr val="1F4E79"/>
                        </a:solidFill>
                        <a:effectLst/>
                        <a:latin typeface="gobCL" pitchFamily="50" charset="0"/>
                        <a:ea typeface="+mn-ea"/>
                        <a:cs typeface="+mn-cs"/>
                      </a:endParaRPr>
                    </a:p>
                  </a:txBody>
                  <a:tcPr marL="0" marR="0" marT="0" marB="0" anchor="ctr"/>
                </a:tc>
                <a:tc>
                  <a:txBody>
                    <a:bodyPr/>
                    <a:lstStyle/>
                    <a:p>
                      <a:pPr algn="ctr" fontAlgn="b"/>
                      <a:r>
                        <a:rPr lang="es-ES" sz="1100" b="1" u="none" strike="noStrike" kern="1200">
                          <a:solidFill>
                            <a:srgbClr val="1F4E79"/>
                          </a:solidFill>
                          <a:effectLst/>
                          <a:latin typeface="gobCL" pitchFamily="50" charset="0"/>
                        </a:rPr>
                        <a:t>90.348</a:t>
                      </a:r>
                      <a:endParaRPr lang="es-ES" sz="1100" b="1" i="0" u="none" strike="noStrike" kern="1200">
                        <a:solidFill>
                          <a:srgbClr val="1F4E79"/>
                        </a:solidFill>
                        <a:effectLst/>
                        <a:latin typeface="gobCL" pitchFamily="50" charset="0"/>
                        <a:ea typeface="+mn-ea"/>
                        <a:cs typeface="+mn-cs"/>
                      </a:endParaRPr>
                    </a:p>
                  </a:txBody>
                  <a:tcPr marL="0" marR="0" marT="0" marB="0" anchor="ctr"/>
                </a:tc>
                <a:extLst>
                  <a:ext uri="{0D108BD9-81ED-4DB2-BD59-A6C34878D82A}">
                    <a16:rowId xmlns:a16="http://schemas.microsoft.com/office/drawing/2014/main" val="656968749"/>
                  </a:ext>
                </a:extLst>
              </a:tr>
              <a:tr h="177634">
                <a:tc>
                  <a:txBody>
                    <a:bodyPr/>
                    <a:lstStyle/>
                    <a:p>
                      <a:pPr algn="l" fontAlgn="b"/>
                      <a:r>
                        <a:rPr lang="es-ES" sz="1100" b="1" u="none" strike="noStrike" kern="1200">
                          <a:solidFill>
                            <a:srgbClr val="1F4E79"/>
                          </a:solidFill>
                          <a:effectLst/>
                          <a:latin typeface="gobCL" pitchFamily="50" charset="0"/>
                        </a:rPr>
                        <a:t>Aporte a Bienestar</a:t>
                      </a:r>
                      <a:endParaRPr lang="es-ES" sz="1100" b="1" i="0" u="none" strike="noStrike" kern="1200">
                        <a:solidFill>
                          <a:srgbClr val="1F4E79"/>
                        </a:solidFill>
                        <a:effectLst/>
                        <a:latin typeface="gobCL" pitchFamily="50" charset="0"/>
                        <a:ea typeface="+mn-ea"/>
                        <a:cs typeface="+mn-cs"/>
                      </a:endParaRPr>
                    </a:p>
                  </a:txBody>
                  <a:tcPr marL="0" marR="0" marT="0" marB="0" anchor="b"/>
                </a:tc>
                <a:tc>
                  <a:txBody>
                    <a:bodyPr/>
                    <a:lstStyle/>
                    <a:p>
                      <a:pPr algn="ctr" fontAlgn="b"/>
                      <a:r>
                        <a:rPr lang="es-ES" sz="1100" b="1" u="none" strike="noStrike" kern="1200">
                          <a:solidFill>
                            <a:srgbClr val="1F4E79"/>
                          </a:solidFill>
                          <a:effectLst/>
                          <a:latin typeface="gobCL" pitchFamily="50" charset="0"/>
                        </a:rPr>
                        <a:t> </a:t>
                      </a:r>
                      <a:endParaRPr lang="es-ES" sz="1100" b="1" i="0" u="none" strike="noStrike" kern="1200">
                        <a:solidFill>
                          <a:srgbClr val="1F4E79"/>
                        </a:solidFill>
                        <a:effectLst/>
                        <a:latin typeface="gobCL" pitchFamily="50" charset="0"/>
                        <a:ea typeface="+mn-ea"/>
                        <a:cs typeface="+mn-cs"/>
                      </a:endParaRPr>
                    </a:p>
                  </a:txBody>
                  <a:tcPr marL="0" marR="0" marT="0" marB="0" anchor="ctr"/>
                </a:tc>
                <a:tc>
                  <a:txBody>
                    <a:bodyPr/>
                    <a:lstStyle/>
                    <a:p>
                      <a:pPr algn="ctr" fontAlgn="b"/>
                      <a:r>
                        <a:rPr lang="es-ES" sz="1100" b="1" u="none" strike="noStrike" kern="1200">
                          <a:solidFill>
                            <a:srgbClr val="1F4E79"/>
                          </a:solidFill>
                          <a:effectLst/>
                          <a:latin typeface="gobCL" pitchFamily="50" charset="0"/>
                        </a:rPr>
                        <a:t>8.142</a:t>
                      </a:r>
                      <a:endParaRPr lang="es-ES" sz="1100" b="1" i="0" u="none" strike="noStrike" kern="1200">
                        <a:solidFill>
                          <a:srgbClr val="1F4E79"/>
                        </a:solidFill>
                        <a:effectLst/>
                        <a:latin typeface="gobCL" pitchFamily="50" charset="0"/>
                        <a:ea typeface="+mn-ea"/>
                        <a:cs typeface="+mn-cs"/>
                      </a:endParaRPr>
                    </a:p>
                  </a:txBody>
                  <a:tcPr marL="0" marR="0" marT="0" marB="0" anchor="ctr"/>
                </a:tc>
                <a:extLst>
                  <a:ext uri="{0D108BD9-81ED-4DB2-BD59-A6C34878D82A}">
                    <a16:rowId xmlns:a16="http://schemas.microsoft.com/office/drawing/2014/main" val="721214629"/>
                  </a:ext>
                </a:extLst>
              </a:tr>
              <a:tr h="177634">
                <a:tc>
                  <a:txBody>
                    <a:bodyPr/>
                    <a:lstStyle/>
                    <a:p>
                      <a:pPr algn="l" fontAlgn="b"/>
                      <a:r>
                        <a:rPr lang="es-ES" sz="1100" b="1" u="none" strike="noStrike" kern="1200">
                          <a:solidFill>
                            <a:srgbClr val="1F4E79"/>
                          </a:solidFill>
                          <a:effectLst/>
                          <a:latin typeface="gobCL" pitchFamily="50" charset="0"/>
                        </a:rPr>
                        <a:t>Remuneraciones mínimas e inferiores</a:t>
                      </a:r>
                      <a:endParaRPr lang="es-ES" sz="1100" b="1" i="0" u="none" strike="noStrike" kern="1200">
                        <a:solidFill>
                          <a:srgbClr val="1F4E79"/>
                        </a:solidFill>
                        <a:effectLst/>
                        <a:latin typeface="gobCL" pitchFamily="50" charset="0"/>
                        <a:ea typeface="+mn-ea"/>
                        <a:cs typeface="+mn-cs"/>
                      </a:endParaRPr>
                    </a:p>
                  </a:txBody>
                  <a:tcPr marL="0" marR="0" marT="0" marB="0" anchor="b"/>
                </a:tc>
                <a:tc>
                  <a:txBody>
                    <a:bodyPr/>
                    <a:lstStyle/>
                    <a:p>
                      <a:pPr algn="ctr" fontAlgn="b"/>
                      <a:r>
                        <a:rPr lang="es-ES" sz="1100" b="1" u="none" strike="noStrike" kern="1200">
                          <a:solidFill>
                            <a:srgbClr val="1F4E79"/>
                          </a:solidFill>
                          <a:effectLst/>
                          <a:latin typeface="gobCL" pitchFamily="50" charset="0"/>
                        </a:rPr>
                        <a:t> </a:t>
                      </a:r>
                      <a:endParaRPr lang="es-ES" sz="1100" b="1" i="0" u="none" strike="noStrike" kern="1200">
                        <a:solidFill>
                          <a:srgbClr val="1F4E79"/>
                        </a:solidFill>
                        <a:effectLst/>
                        <a:latin typeface="gobCL" pitchFamily="50" charset="0"/>
                        <a:ea typeface="+mn-ea"/>
                        <a:cs typeface="+mn-cs"/>
                      </a:endParaRPr>
                    </a:p>
                  </a:txBody>
                  <a:tcPr marL="0" marR="0" marT="0" marB="0" anchor="ctr"/>
                </a:tc>
                <a:tc>
                  <a:txBody>
                    <a:bodyPr/>
                    <a:lstStyle/>
                    <a:p>
                      <a:pPr marL="0" algn="ctr" defTabSz="914400" rtl="0" eaLnBrk="1" fontAlgn="b" latinLnBrk="0" hangingPunct="1"/>
                      <a:r>
                        <a:rPr lang="es-CL" sz="1100" b="1" u="none" strike="noStrike" kern="1200">
                          <a:solidFill>
                            <a:srgbClr val="1F4E79"/>
                          </a:solidFill>
                          <a:effectLst/>
                          <a:latin typeface="gobCL" pitchFamily="50" charset="0"/>
                          <a:ea typeface="+mn-ea"/>
                          <a:cs typeface="+mn-cs"/>
                        </a:rPr>
                        <a:t>58.237</a:t>
                      </a:r>
                    </a:p>
                  </a:txBody>
                  <a:tcPr marL="0" marR="0" marT="0" marB="0" anchor="ctr"/>
                </a:tc>
                <a:extLst>
                  <a:ext uri="{0D108BD9-81ED-4DB2-BD59-A6C34878D82A}">
                    <a16:rowId xmlns:a16="http://schemas.microsoft.com/office/drawing/2014/main" val="3931132668"/>
                  </a:ext>
                </a:extLst>
              </a:tr>
              <a:tr h="177634">
                <a:tc>
                  <a:txBody>
                    <a:bodyPr/>
                    <a:lstStyle/>
                    <a:p>
                      <a:pPr algn="l" fontAlgn="ctr"/>
                      <a:r>
                        <a:rPr lang="es-CL" sz="1050" b="0" i="1" u="none" strike="noStrike" kern="1200">
                          <a:solidFill>
                            <a:srgbClr val="1F4E79"/>
                          </a:solidFill>
                          <a:effectLst/>
                          <a:latin typeface="gobCL" pitchFamily="50" charset="0"/>
                          <a:ea typeface="+mn-ea"/>
                          <a:cs typeface="+mn-cs"/>
                        </a:rPr>
                        <a:t>Remuneraciones mínimas</a:t>
                      </a:r>
                    </a:p>
                  </a:txBody>
                  <a:tcPr marL="0" marR="0" marT="0" marB="0" anchor="ctr"/>
                </a:tc>
                <a:tc>
                  <a:txBody>
                    <a:bodyPr/>
                    <a:lstStyle/>
                    <a:p>
                      <a:pPr algn="ctr" fontAlgn="b"/>
                      <a:r>
                        <a:rPr lang="es-ES" sz="1050" b="0" i="1" u="none" strike="noStrike" kern="1200">
                          <a:solidFill>
                            <a:srgbClr val="1F4E79"/>
                          </a:solidFill>
                          <a:effectLst/>
                          <a:latin typeface="gobCL" pitchFamily="50" charset="0"/>
                        </a:rPr>
                        <a:t> </a:t>
                      </a:r>
                      <a:endParaRPr lang="es-ES" sz="1050" b="0" i="1" u="none" strike="noStrike" kern="1200">
                        <a:solidFill>
                          <a:srgbClr val="1F4E79"/>
                        </a:solidFill>
                        <a:effectLst/>
                        <a:latin typeface="gobCL" pitchFamily="50" charset="0"/>
                        <a:ea typeface="+mn-ea"/>
                        <a:cs typeface="+mn-cs"/>
                      </a:endParaRPr>
                    </a:p>
                  </a:txBody>
                  <a:tcPr marL="0" marR="0" marT="0" marB="0" anchor="ctr"/>
                </a:tc>
                <a:tc>
                  <a:txBody>
                    <a:bodyPr/>
                    <a:lstStyle/>
                    <a:p>
                      <a:pPr marL="0" algn="ctr" defTabSz="914400" rtl="0" eaLnBrk="1" fontAlgn="b" latinLnBrk="0" hangingPunct="1"/>
                      <a:r>
                        <a:rPr lang="es-CL" sz="1050" b="0" i="1" u="none" strike="noStrike" kern="1200">
                          <a:solidFill>
                            <a:srgbClr val="1F4E79"/>
                          </a:solidFill>
                          <a:effectLst/>
                          <a:latin typeface="gobCL" pitchFamily="50" charset="0"/>
                          <a:ea typeface="+mn-ea"/>
                          <a:cs typeface="+mn-cs"/>
                        </a:rPr>
                        <a:t>1.753</a:t>
                      </a:r>
                    </a:p>
                  </a:txBody>
                  <a:tcPr marL="0" marR="0" marT="0" marB="0" anchor="ctr"/>
                </a:tc>
                <a:extLst>
                  <a:ext uri="{0D108BD9-81ED-4DB2-BD59-A6C34878D82A}">
                    <a16:rowId xmlns:a16="http://schemas.microsoft.com/office/drawing/2014/main" val="2528959315"/>
                  </a:ext>
                </a:extLst>
              </a:tr>
              <a:tr h="355268">
                <a:tc>
                  <a:txBody>
                    <a:bodyPr/>
                    <a:lstStyle/>
                    <a:p>
                      <a:pPr algn="l" fontAlgn="ctr"/>
                      <a:r>
                        <a:rPr lang="es-CL" sz="1050" b="0" i="1" u="none" strike="noStrike" kern="1200">
                          <a:solidFill>
                            <a:srgbClr val="1F4E79"/>
                          </a:solidFill>
                          <a:effectLst/>
                          <a:latin typeface="gobCL" pitchFamily="50" charset="0"/>
                          <a:ea typeface="+mn-ea"/>
                          <a:cs typeface="+mn-cs"/>
                        </a:rPr>
                        <a:t>Bono mensual para trabajadores de remuneraciones inferiores</a:t>
                      </a:r>
                    </a:p>
                  </a:txBody>
                  <a:tcPr marL="0" marR="0" marT="0" marB="0" anchor="ctr"/>
                </a:tc>
                <a:tc>
                  <a:txBody>
                    <a:bodyPr/>
                    <a:lstStyle/>
                    <a:p>
                      <a:pPr algn="ctr" fontAlgn="b"/>
                      <a:r>
                        <a:rPr lang="es-ES" sz="1050" b="0" i="1" u="none" strike="noStrike" kern="1200">
                          <a:solidFill>
                            <a:srgbClr val="1F4E79"/>
                          </a:solidFill>
                          <a:effectLst/>
                          <a:latin typeface="gobCL" pitchFamily="50" charset="0"/>
                        </a:rPr>
                        <a:t> </a:t>
                      </a:r>
                      <a:endParaRPr lang="es-ES" sz="1050" b="0" i="1" u="none" strike="noStrike" kern="1200">
                        <a:solidFill>
                          <a:srgbClr val="1F4E79"/>
                        </a:solidFill>
                        <a:effectLst/>
                        <a:latin typeface="gobCL" pitchFamily="50" charset="0"/>
                        <a:ea typeface="+mn-ea"/>
                        <a:cs typeface="+mn-cs"/>
                      </a:endParaRPr>
                    </a:p>
                  </a:txBody>
                  <a:tcPr marL="0" marR="0" marT="0" marB="0" anchor="ctr"/>
                </a:tc>
                <a:tc>
                  <a:txBody>
                    <a:bodyPr/>
                    <a:lstStyle/>
                    <a:p>
                      <a:pPr marL="0" algn="ctr" defTabSz="914400" rtl="0" eaLnBrk="1" fontAlgn="b" latinLnBrk="0" hangingPunct="1"/>
                      <a:r>
                        <a:rPr lang="es-CL" sz="1050" b="0" i="1" u="none" strike="noStrike" kern="1200">
                          <a:solidFill>
                            <a:srgbClr val="1F4E79"/>
                          </a:solidFill>
                          <a:effectLst/>
                          <a:latin typeface="gobCL" pitchFamily="50" charset="0"/>
                          <a:ea typeface="+mn-ea"/>
                          <a:cs typeface="+mn-cs"/>
                        </a:rPr>
                        <a:t>53.706</a:t>
                      </a:r>
                    </a:p>
                  </a:txBody>
                  <a:tcPr marL="0" marR="0" marT="0" marB="0" anchor="ctr"/>
                </a:tc>
                <a:extLst>
                  <a:ext uri="{0D108BD9-81ED-4DB2-BD59-A6C34878D82A}">
                    <a16:rowId xmlns:a16="http://schemas.microsoft.com/office/drawing/2014/main" val="2535105769"/>
                  </a:ext>
                </a:extLst>
              </a:tr>
              <a:tr h="177634">
                <a:tc>
                  <a:txBody>
                    <a:bodyPr/>
                    <a:lstStyle/>
                    <a:p>
                      <a:pPr algn="l" fontAlgn="ctr"/>
                      <a:r>
                        <a:rPr lang="es-ES" sz="1050" b="0" i="1" u="none" strike="noStrike" kern="1200">
                          <a:solidFill>
                            <a:srgbClr val="1F4E79"/>
                          </a:solidFill>
                          <a:effectLst/>
                          <a:latin typeface="gobCL" pitchFamily="50" charset="0"/>
                          <a:ea typeface="+mn-ea"/>
                          <a:cs typeface="+mn-cs"/>
                        </a:rPr>
                        <a:t>Bono de Asistentes de la Educación</a:t>
                      </a:r>
                    </a:p>
                  </a:txBody>
                  <a:tcPr marL="0" marR="0" marT="0" marB="0" anchor="ctr"/>
                </a:tc>
                <a:tc>
                  <a:txBody>
                    <a:bodyPr/>
                    <a:lstStyle/>
                    <a:p>
                      <a:pPr algn="ctr" fontAlgn="b"/>
                      <a:r>
                        <a:rPr lang="es-ES" sz="1050" b="0" i="1" u="none" strike="noStrike" kern="1200">
                          <a:solidFill>
                            <a:srgbClr val="1F4E79"/>
                          </a:solidFill>
                          <a:effectLst/>
                          <a:latin typeface="gobCL" pitchFamily="50" charset="0"/>
                        </a:rPr>
                        <a:t> </a:t>
                      </a:r>
                      <a:endParaRPr lang="es-ES" sz="1050" b="0" i="1" u="none" strike="noStrike" kern="1200">
                        <a:solidFill>
                          <a:srgbClr val="1F4E79"/>
                        </a:solidFill>
                        <a:effectLst/>
                        <a:latin typeface="gobCL" pitchFamily="50" charset="0"/>
                        <a:ea typeface="+mn-ea"/>
                        <a:cs typeface="+mn-cs"/>
                      </a:endParaRPr>
                    </a:p>
                  </a:txBody>
                  <a:tcPr marL="0" marR="0" marT="0" marB="0" anchor="ctr"/>
                </a:tc>
                <a:tc>
                  <a:txBody>
                    <a:bodyPr/>
                    <a:lstStyle/>
                    <a:p>
                      <a:pPr marL="0" algn="ctr" defTabSz="914400" rtl="0" eaLnBrk="1" fontAlgn="b" latinLnBrk="0" hangingPunct="1"/>
                      <a:r>
                        <a:rPr lang="es-CL" sz="1050" b="0" i="1" u="none" strike="noStrike" kern="1200">
                          <a:solidFill>
                            <a:srgbClr val="1F4E79"/>
                          </a:solidFill>
                          <a:effectLst/>
                          <a:latin typeface="gobCL" pitchFamily="50" charset="0"/>
                          <a:ea typeface="+mn-ea"/>
                          <a:cs typeface="+mn-cs"/>
                        </a:rPr>
                        <a:t>1.977</a:t>
                      </a:r>
                    </a:p>
                  </a:txBody>
                  <a:tcPr marL="0" marR="0" marT="0" marB="0" anchor="ctr"/>
                </a:tc>
                <a:extLst>
                  <a:ext uri="{0D108BD9-81ED-4DB2-BD59-A6C34878D82A}">
                    <a16:rowId xmlns:a16="http://schemas.microsoft.com/office/drawing/2014/main" val="1848001305"/>
                  </a:ext>
                </a:extLst>
              </a:tr>
              <a:tr h="355268">
                <a:tc>
                  <a:txBody>
                    <a:bodyPr/>
                    <a:lstStyle/>
                    <a:p>
                      <a:pPr algn="l" fontAlgn="ctr"/>
                      <a:r>
                        <a:rPr lang="es-ES" sz="1050" b="0" i="1" u="none" strike="noStrike" kern="1200">
                          <a:solidFill>
                            <a:srgbClr val="1F4E79"/>
                          </a:solidFill>
                          <a:effectLst/>
                          <a:latin typeface="gobCL" pitchFamily="50" charset="0"/>
                          <a:ea typeface="+mn-ea"/>
                          <a:cs typeface="+mn-cs"/>
                        </a:rPr>
                        <a:t>Bono mensual bajas remuneraciones: Educación superior</a:t>
                      </a:r>
                    </a:p>
                  </a:txBody>
                  <a:tcPr marL="0" marR="0" marT="0" marB="0" anchor="ctr"/>
                </a:tc>
                <a:tc>
                  <a:txBody>
                    <a:bodyPr/>
                    <a:lstStyle/>
                    <a:p>
                      <a:pPr marL="0" algn="ctr" defTabSz="914400" rtl="0" eaLnBrk="1" fontAlgn="b" latinLnBrk="0" hangingPunct="1"/>
                      <a:r>
                        <a:rPr lang="es-ES" sz="1050" b="0" i="1" u="none" strike="noStrike" kern="1200">
                          <a:solidFill>
                            <a:srgbClr val="1F4E79"/>
                          </a:solidFill>
                          <a:effectLst/>
                          <a:latin typeface="gobCL" pitchFamily="50" charset="0"/>
                          <a:ea typeface="+mn-ea"/>
                          <a:cs typeface="+mn-cs"/>
                        </a:rPr>
                        <a:t> </a:t>
                      </a:r>
                    </a:p>
                  </a:txBody>
                  <a:tcPr marL="0" marR="0" marT="0" marB="0" anchor="ctr"/>
                </a:tc>
                <a:tc>
                  <a:txBody>
                    <a:bodyPr/>
                    <a:lstStyle/>
                    <a:p>
                      <a:pPr marL="0" algn="ctr" defTabSz="914400" rtl="0" eaLnBrk="1" fontAlgn="b" latinLnBrk="0" hangingPunct="1"/>
                      <a:r>
                        <a:rPr lang="es-CL" sz="1050" b="0" i="1" u="none" strike="noStrike" kern="1200">
                          <a:solidFill>
                            <a:srgbClr val="1F4E79"/>
                          </a:solidFill>
                          <a:effectLst/>
                          <a:latin typeface="gobCL" pitchFamily="50" charset="0"/>
                          <a:ea typeface="+mn-ea"/>
                          <a:cs typeface="+mn-cs"/>
                        </a:rPr>
                        <a:t>800</a:t>
                      </a:r>
                    </a:p>
                  </a:txBody>
                  <a:tcPr marL="0" marR="0" marT="0" marB="0" anchor="ctr"/>
                </a:tc>
                <a:extLst>
                  <a:ext uri="{0D108BD9-81ED-4DB2-BD59-A6C34878D82A}">
                    <a16:rowId xmlns:a16="http://schemas.microsoft.com/office/drawing/2014/main" val="4149309767"/>
                  </a:ext>
                </a:extLst>
              </a:tr>
              <a:tr h="177634">
                <a:tc>
                  <a:txBody>
                    <a:bodyPr/>
                    <a:lstStyle/>
                    <a:p>
                      <a:pPr algn="l" fontAlgn="b"/>
                      <a:r>
                        <a:rPr lang="es-ES" sz="1100" b="1" u="none" strike="noStrike" kern="1200">
                          <a:solidFill>
                            <a:srgbClr val="1F4E79"/>
                          </a:solidFill>
                          <a:effectLst/>
                          <a:latin typeface="gobCL" pitchFamily="50" charset="0"/>
                        </a:rPr>
                        <a:t>Sector Pasivo</a:t>
                      </a:r>
                      <a:endParaRPr lang="es-ES" sz="1100" b="1" i="0" u="none" strike="noStrike" kern="1200">
                        <a:solidFill>
                          <a:srgbClr val="1F4E79"/>
                        </a:solidFill>
                        <a:effectLst/>
                        <a:latin typeface="gobCL" pitchFamily="50" charset="0"/>
                        <a:ea typeface="+mn-ea"/>
                        <a:cs typeface="+mn-cs"/>
                      </a:endParaRPr>
                    </a:p>
                  </a:txBody>
                  <a:tcPr marL="0" marR="0" marT="0" marB="0" anchor="b"/>
                </a:tc>
                <a:tc>
                  <a:txBody>
                    <a:bodyPr/>
                    <a:lstStyle/>
                    <a:p>
                      <a:pPr algn="ctr" fontAlgn="b"/>
                      <a:r>
                        <a:rPr lang="es-ES" sz="1100" b="1" u="none" strike="noStrike" kern="1200">
                          <a:solidFill>
                            <a:srgbClr val="1F4E79"/>
                          </a:solidFill>
                          <a:effectLst/>
                          <a:latin typeface="gobCL" pitchFamily="50" charset="0"/>
                        </a:rPr>
                        <a:t> </a:t>
                      </a:r>
                      <a:endParaRPr lang="es-ES" sz="1100" b="1" i="0" u="none" strike="noStrike" kern="1200">
                        <a:solidFill>
                          <a:srgbClr val="1F4E79"/>
                        </a:solidFill>
                        <a:effectLst/>
                        <a:latin typeface="gobCL" pitchFamily="50" charset="0"/>
                        <a:ea typeface="+mn-ea"/>
                        <a:cs typeface="+mn-cs"/>
                      </a:endParaRPr>
                    </a:p>
                  </a:txBody>
                  <a:tcPr marL="0" marR="0" marT="0" marB="0" anchor="ctr"/>
                </a:tc>
                <a:tc>
                  <a:txBody>
                    <a:bodyPr/>
                    <a:lstStyle/>
                    <a:p>
                      <a:pPr marL="0" algn="ctr" defTabSz="914400" rtl="0" eaLnBrk="1" fontAlgn="b" latinLnBrk="0" hangingPunct="1"/>
                      <a:r>
                        <a:rPr lang="es-CL" sz="1100" b="1" u="none" strike="noStrike" kern="1200">
                          <a:solidFill>
                            <a:srgbClr val="1F4E79"/>
                          </a:solidFill>
                          <a:effectLst/>
                          <a:latin typeface="gobCL" pitchFamily="50" charset="0"/>
                          <a:ea typeface="+mn-ea"/>
                          <a:cs typeface="+mn-cs"/>
                        </a:rPr>
                        <a:t>292.196</a:t>
                      </a:r>
                    </a:p>
                  </a:txBody>
                  <a:tcPr marL="0" marR="0" marT="0" marB="0" anchor="ctr"/>
                </a:tc>
                <a:extLst>
                  <a:ext uri="{0D108BD9-81ED-4DB2-BD59-A6C34878D82A}">
                    <a16:rowId xmlns:a16="http://schemas.microsoft.com/office/drawing/2014/main" val="2226821150"/>
                  </a:ext>
                </a:extLst>
              </a:tr>
              <a:tr h="177634">
                <a:tc>
                  <a:txBody>
                    <a:bodyPr/>
                    <a:lstStyle/>
                    <a:p>
                      <a:pPr algn="l" fontAlgn="b"/>
                      <a:r>
                        <a:rPr lang="es-ES" sz="1050" b="0" i="1" u="none" strike="noStrike" kern="1200">
                          <a:solidFill>
                            <a:srgbClr val="1F4E79"/>
                          </a:solidFill>
                          <a:effectLst/>
                          <a:latin typeface="gobCL" pitchFamily="50" charset="0"/>
                        </a:rPr>
                        <a:t>Bono Invierno</a:t>
                      </a:r>
                      <a:endParaRPr lang="es-ES" sz="1050" b="0" i="1" u="none" strike="noStrike" kern="1200">
                        <a:solidFill>
                          <a:srgbClr val="1F4E79"/>
                        </a:solidFill>
                        <a:effectLst/>
                        <a:latin typeface="gobCL" pitchFamily="50" charset="0"/>
                        <a:ea typeface="+mn-ea"/>
                        <a:cs typeface="+mn-cs"/>
                      </a:endParaRPr>
                    </a:p>
                  </a:txBody>
                  <a:tcPr marL="0" marR="0" marT="0" marB="0" anchor="b"/>
                </a:tc>
                <a:tc>
                  <a:txBody>
                    <a:bodyPr/>
                    <a:lstStyle/>
                    <a:p>
                      <a:pPr algn="ctr" fontAlgn="b"/>
                      <a:r>
                        <a:rPr lang="es-ES" sz="1050" b="0" i="1" u="none" strike="noStrike" kern="1200">
                          <a:solidFill>
                            <a:srgbClr val="1F4E79"/>
                          </a:solidFill>
                          <a:effectLst/>
                          <a:latin typeface="gobCL" pitchFamily="50" charset="0"/>
                        </a:rPr>
                        <a:t> </a:t>
                      </a:r>
                      <a:endParaRPr lang="es-ES" sz="1050" b="0" i="1" u="none" strike="noStrike" kern="1200">
                        <a:solidFill>
                          <a:srgbClr val="1F4E79"/>
                        </a:solidFill>
                        <a:effectLst/>
                        <a:latin typeface="gobCL" pitchFamily="50" charset="0"/>
                        <a:ea typeface="+mn-ea"/>
                        <a:cs typeface="+mn-cs"/>
                      </a:endParaRPr>
                    </a:p>
                  </a:txBody>
                  <a:tcPr marL="0" marR="0" marT="0" marB="0" anchor="ctr"/>
                </a:tc>
                <a:tc>
                  <a:txBody>
                    <a:bodyPr/>
                    <a:lstStyle/>
                    <a:p>
                      <a:pPr marL="0" algn="ctr" defTabSz="914400" rtl="0" eaLnBrk="1" fontAlgn="b" latinLnBrk="0" hangingPunct="1"/>
                      <a:r>
                        <a:rPr lang="es-CL" sz="1050" b="0" i="1" u="none" strike="noStrike" kern="1200">
                          <a:solidFill>
                            <a:srgbClr val="1F4E79"/>
                          </a:solidFill>
                          <a:effectLst/>
                          <a:latin typeface="gobCL" pitchFamily="50" charset="0"/>
                          <a:ea typeface="+mn-ea"/>
                          <a:cs typeface="+mn-cs"/>
                        </a:rPr>
                        <a:t>137.313</a:t>
                      </a:r>
                    </a:p>
                  </a:txBody>
                  <a:tcPr marL="0" marR="0" marT="0" marB="0" anchor="ctr"/>
                </a:tc>
                <a:extLst>
                  <a:ext uri="{0D108BD9-81ED-4DB2-BD59-A6C34878D82A}">
                    <a16:rowId xmlns:a16="http://schemas.microsoft.com/office/drawing/2014/main" val="1648561233"/>
                  </a:ext>
                </a:extLst>
              </a:tr>
              <a:tr h="177634">
                <a:tc>
                  <a:txBody>
                    <a:bodyPr/>
                    <a:lstStyle/>
                    <a:p>
                      <a:pPr algn="l" fontAlgn="b"/>
                      <a:r>
                        <a:rPr lang="es-ES" sz="1050" b="0" i="1" u="none" strike="noStrike" kern="1200">
                          <a:solidFill>
                            <a:srgbClr val="1F4E79"/>
                          </a:solidFill>
                          <a:effectLst/>
                          <a:latin typeface="gobCL" pitchFamily="50" charset="0"/>
                        </a:rPr>
                        <a:t>Aguinaldo de Fiestas Patrias</a:t>
                      </a:r>
                      <a:endParaRPr lang="es-ES" sz="1050" b="0" i="1" u="none" strike="noStrike" kern="1200">
                        <a:solidFill>
                          <a:srgbClr val="1F4E79"/>
                        </a:solidFill>
                        <a:effectLst/>
                        <a:latin typeface="gobCL" pitchFamily="50" charset="0"/>
                        <a:ea typeface="+mn-ea"/>
                        <a:cs typeface="+mn-cs"/>
                      </a:endParaRPr>
                    </a:p>
                  </a:txBody>
                  <a:tcPr marL="0" marR="0" marT="0" marB="0" anchor="b"/>
                </a:tc>
                <a:tc>
                  <a:txBody>
                    <a:bodyPr/>
                    <a:lstStyle/>
                    <a:p>
                      <a:pPr algn="ctr" fontAlgn="b"/>
                      <a:r>
                        <a:rPr lang="es-ES" sz="1050" b="0" i="1" u="none" strike="noStrike" kern="1200">
                          <a:solidFill>
                            <a:srgbClr val="1F4E79"/>
                          </a:solidFill>
                          <a:effectLst/>
                          <a:latin typeface="gobCL" pitchFamily="50" charset="0"/>
                        </a:rPr>
                        <a:t> </a:t>
                      </a:r>
                      <a:endParaRPr lang="es-ES" sz="1050" b="0" i="1" u="none" strike="noStrike" kern="1200">
                        <a:solidFill>
                          <a:srgbClr val="1F4E79"/>
                        </a:solidFill>
                        <a:effectLst/>
                        <a:latin typeface="gobCL" pitchFamily="50" charset="0"/>
                        <a:ea typeface="+mn-ea"/>
                        <a:cs typeface="+mn-cs"/>
                      </a:endParaRPr>
                    </a:p>
                  </a:txBody>
                  <a:tcPr marL="0" marR="0" marT="0" marB="0" anchor="ctr"/>
                </a:tc>
                <a:tc>
                  <a:txBody>
                    <a:bodyPr/>
                    <a:lstStyle/>
                    <a:p>
                      <a:pPr marL="0" algn="ctr" defTabSz="914400" rtl="0" eaLnBrk="1" fontAlgn="b" latinLnBrk="0" hangingPunct="1"/>
                      <a:r>
                        <a:rPr lang="es-CL" sz="1050" b="0" i="1" u="none" strike="noStrike" kern="1200">
                          <a:solidFill>
                            <a:srgbClr val="1F4E79"/>
                          </a:solidFill>
                          <a:effectLst/>
                          <a:latin typeface="gobCL" pitchFamily="50" charset="0"/>
                          <a:ea typeface="+mn-ea"/>
                          <a:cs typeface="+mn-cs"/>
                        </a:rPr>
                        <a:t>71.220</a:t>
                      </a:r>
                    </a:p>
                  </a:txBody>
                  <a:tcPr marL="0" marR="0" marT="0" marB="0" anchor="ctr"/>
                </a:tc>
                <a:extLst>
                  <a:ext uri="{0D108BD9-81ED-4DB2-BD59-A6C34878D82A}">
                    <a16:rowId xmlns:a16="http://schemas.microsoft.com/office/drawing/2014/main" val="2275957991"/>
                  </a:ext>
                </a:extLst>
              </a:tr>
              <a:tr h="177634">
                <a:tc>
                  <a:txBody>
                    <a:bodyPr/>
                    <a:lstStyle/>
                    <a:p>
                      <a:pPr algn="l" fontAlgn="b"/>
                      <a:r>
                        <a:rPr lang="es-ES" sz="1050" b="0" i="1" u="none" strike="noStrike" kern="1200">
                          <a:solidFill>
                            <a:srgbClr val="1F4E79"/>
                          </a:solidFill>
                          <a:effectLst/>
                          <a:latin typeface="gobCL" pitchFamily="50" charset="0"/>
                        </a:rPr>
                        <a:t>Aguinaldo de Navidad</a:t>
                      </a:r>
                      <a:endParaRPr lang="es-ES" sz="1050" b="0" i="1" u="none" strike="noStrike" kern="1200">
                        <a:solidFill>
                          <a:srgbClr val="1F4E79"/>
                        </a:solidFill>
                        <a:effectLst/>
                        <a:latin typeface="gobCL" pitchFamily="50" charset="0"/>
                        <a:ea typeface="+mn-ea"/>
                        <a:cs typeface="+mn-cs"/>
                      </a:endParaRPr>
                    </a:p>
                  </a:txBody>
                  <a:tcPr marL="0" marR="0" marT="0" marB="0" anchor="b"/>
                </a:tc>
                <a:tc>
                  <a:txBody>
                    <a:bodyPr/>
                    <a:lstStyle/>
                    <a:p>
                      <a:pPr algn="ctr" fontAlgn="b"/>
                      <a:r>
                        <a:rPr lang="es-ES" sz="1050" b="0" i="1" u="none" strike="noStrike" kern="1200">
                          <a:solidFill>
                            <a:srgbClr val="1F4E79"/>
                          </a:solidFill>
                          <a:effectLst/>
                          <a:latin typeface="gobCL" pitchFamily="50" charset="0"/>
                        </a:rPr>
                        <a:t> </a:t>
                      </a:r>
                      <a:endParaRPr lang="es-ES" sz="1050" b="0" i="1" u="none" strike="noStrike" kern="1200">
                        <a:solidFill>
                          <a:srgbClr val="1F4E79"/>
                        </a:solidFill>
                        <a:effectLst/>
                        <a:latin typeface="gobCL" pitchFamily="50" charset="0"/>
                        <a:ea typeface="+mn-ea"/>
                        <a:cs typeface="+mn-cs"/>
                      </a:endParaRPr>
                    </a:p>
                  </a:txBody>
                  <a:tcPr marL="0" marR="0" marT="0" marB="0" anchor="ctr"/>
                </a:tc>
                <a:tc>
                  <a:txBody>
                    <a:bodyPr/>
                    <a:lstStyle/>
                    <a:p>
                      <a:pPr marL="0" algn="ctr" defTabSz="914400" rtl="0" eaLnBrk="1" fontAlgn="b" latinLnBrk="0" hangingPunct="1"/>
                      <a:r>
                        <a:rPr lang="es-CL" sz="1050" b="0" i="1" u="none" strike="noStrike" kern="1200">
                          <a:solidFill>
                            <a:srgbClr val="1F4E79"/>
                          </a:solidFill>
                          <a:effectLst/>
                          <a:latin typeface="gobCL" pitchFamily="50" charset="0"/>
                          <a:ea typeface="+mn-ea"/>
                          <a:cs typeface="+mn-cs"/>
                        </a:rPr>
                        <a:t>83.663</a:t>
                      </a:r>
                    </a:p>
                  </a:txBody>
                  <a:tcPr marL="0" marR="0" marT="0" marB="0" anchor="ctr"/>
                </a:tc>
                <a:extLst>
                  <a:ext uri="{0D108BD9-81ED-4DB2-BD59-A6C34878D82A}">
                    <a16:rowId xmlns:a16="http://schemas.microsoft.com/office/drawing/2014/main" val="796038671"/>
                  </a:ext>
                </a:extLst>
              </a:tr>
              <a:tr h="177634">
                <a:tc>
                  <a:txBody>
                    <a:bodyPr/>
                    <a:lstStyle/>
                    <a:p>
                      <a:pPr marL="0" algn="l" defTabSz="914400" rtl="0" eaLnBrk="1" fontAlgn="b" latinLnBrk="0" hangingPunct="1"/>
                      <a:r>
                        <a:rPr lang="es-ES" sz="1100" b="1" u="none" strike="noStrike" kern="1200">
                          <a:solidFill>
                            <a:srgbClr val="1F4E79"/>
                          </a:solidFill>
                          <a:effectLst/>
                          <a:latin typeface="gobCL" pitchFamily="50" charset="0"/>
                          <a:ea typeface="+mn-ea"/>
                          <a:cs typeface="+mn-cs"/>
                        </a:rPr>
                        <a:t>Otras Asignaciones y Remuneraciones</a:t>
                      </a:r>
                    </a:p>
                  </a:txBody>
                  <a:tcPr marL="0" marR="0" marT="0" marB="0" anchor="b"/>
                </a:tc>
                <a:tc>
                  <a:txBody>
                    <a:bodyPr/>
                    <a:lstStyle/>
                    <a:p>
                      <a:pPr marL="0" algn="ctr" defTabSz="914400" rtl="0" eaLnBrk="1" fontAlgn="b" latinLnBrk="0" hangingPunct="1"/>
                      <a:r>
                        <a:rPr lang="es-ES" sz="1100" b="1" u="none" strike="noStrike" kern="1200">
                          <a:solidFill>
                            <a:srgbClr val="1F4E79"/>
                          </a:solidFill>
                          <a:effectLst/>
                          <a:latin typeface="gobCL" pitchFamily="50" charset="0"/>
                          <a:ea typeface="+mn-ea"/>
                          <a:cs typeface="+mn-cs"/>
                        </a:rPr>
                        <a:t> </a:t>
                      </a:r>
                    </a:p>
                  </a:txBody>
                  <a:tcPr marL="0" marR="0" marT="0" marB="0" anchor="ctr"/>
                </a:tc>
                <a:tc>
                  <a:txBody>
                    <a:bodyPr/>
                    <a:lstStyle/>
                    <a:p>
                      <a:pPr algn="ctr" fontAlgn="ctr"/>
                      <a:r>
                        <a:rPr lang="es-CL" sz="1100" b="1" u="none" strike="noStrike" kern="1200">
                          <a:solidFill>
                            <a:srgbClr val="1F4E79"/>
                          </a:solidFill>
                          <a:effectLst/>
                          <a:latin typeface="gobCL" pitchFamily="50" charset="0"/>
                          <a:ea typeface="+mn-ea"/>
                          <a:cs typeface="+mn-cs"/>
                        </a:rPr>
                        <a:t>4.103</a:t>
                      </a:r>
                    </a:p>
                  </a:txBody>
                  <a:tcPr marL="0" marR="0" marT="0" marB="0" anchor="ctr"/>
                </a:tc>
                <a:extLst>
                  <a:ext uri="{0D108BD9-81ED-4DB2-BD59-A6C34878D82A}">
                    <a16:rowId xmlns:a16="http://schemas.microsoft.com/office/drawing/2014/main" val="3640445339"/>
                  </a:ext>
                </a:extLst>
              </a:tr>
              <a:tr h="177634">
                <a:tc>
                  <a:txBody>
                    <a:bodyPr/>
                    <a:lstStyle/>
                    <a:p>
                      <a:pPr algn="l" fontAlgn="ctr"/>
                      <a:r>
                        <a:rPr lang="es-ES" sz="1050" b="0" i="1" u="none" strike="noStrike" kern="1200">
                          <a:solidFill>
                            <a:srgbClr val="1F4E79"/>
                          </a:solidFill>
                          <a:effectLst/>
                          <a:latin typeface="gobCL" pitchFamily="50" charset="0"/>
                          <a:ea typeface="+mn-ea"/>
                          <a:cs typeface="+mn-cs"/>
                        </a:rPr>
                        <a:t>Asignación Especial para el personal del SML</a:t>
                      </a:r>
                    </a:p>
                  </a:txBody>
                  <a:tcPr marL="0" marR="0" marT="0" marB="0" anchor="ctr"/>
                </a:tc>
                <a:tc>
                  <a:txBody>
                    <a:bodyPr/>
                    <a:lstStyle/>
                    <a:p>
                      <a:pPr marL="0" algn="ctr" defTabSz="914400" rtl="0" eaLnBrk="1" fontAlgn="b" latinLnBrk="0" hangingPunct="1"/>
                      <a:r>
                        <a:rPr lang="es-ES" sz="1050" b="0" i="1" u="none" strike="noStrike" kern="1200">
                          <a:solidFill>
                            <a:srgbClr val="1F4E79"/>
                          </a:solidFill>
                          <a:effectLst/>
                          <a:latin typeface="gobCL" pitchFamily="50" charset="0"/>
                          <a:ea typeface="+mn-ea"/>
                          <a:cs typeface="+mn-cs"/>
                        </a:rPr>
                        <a:t> </a:t>
                      </a:r>
                    </a:p>
                  </a:txBody>
                  <a:tcPr marL="0" marR="0" marT="0" marB="0" anchor="ctr"/>
                </a:tc>
                <a:tc>
                  <a:txBody>
                    <a:bodyPr/>
                    <a:lstStyle/>
                    <a:p>
                      <a:pPr marL="0" algn="ctr" defTabSz="914400" rtl="0" eaLnBrk="1" fontAlgn="b" latinLnBrk="0" hangingPunct="1"/>
                      <a:r>
                        <a:rPr lang="es-ES" sz="1050" b="0" i="1" u="none" strike="noStrike" kern="1200">
                          <a:solidFill>
                            <a:srgbClr val="1F4E79"/>
                          </a:solidFill>
                          <a:effectLst/>
                          <a:latin typeface="gobCL" pitchFamily="50" charset="0"/>
                          <a:ea typeface="+mn-ea"/>
                          <a:cs typeface="+mn-cs"/>
                        </a:rPr>
                        <a:t>884</a:t>
                      </a:r>
                    </a:p>
                  </a:txBody>
                  <a:tcPr marL="0" marR="0" marT="0" marB="0" anchor="ctr"/>
                </a:tc>
                <a:extLst>
                  <a:ext uri="{0D108BD9-81ED-4DB2-BD59-A6C34878D82A}">
                    <a16:rowId xmlns:a16="http://schemas.microsoft.com/office/drawing/2014/main" val="1224604031"/>
                  </a:ext>
                </a:extLst>
              </a:tr>
              <a:tr h="177634">
                <a:tc>
                  <a:txBody>
                    <a:bodyPr/>
                    <a:lstStyle/>
                    <a:p>
                      <a:pPr algn="l" fontAlgn="ctr"/>
                      <a:r>
                        <a:rPr lang="es-ES" sz="1050" b="0" i="1" u="none" strike="noStrike" kern="1200">
                          <a:solidFill>
                            <a:srgbClr val="1F4E79"/>
                          </a:solidFill>
                          <a:effectLst/>
                          <a:latin typeface="gobCL" pitchFamily="50" charset="0"/>
                          <a:ea typeface="+mn-ea"/>
                          <a:cs typeface="+mn-cs"/>
                        </a:rPr>
                        <a:t>Bono para personal de la Región de Atacama</a:t>
                      </a:r>
                    </a:p>
                  </a:txBody>
                  <a:tcPr marL="0" marR="0" marT="0" marB="0" anchor="ctr"/>
                </a:tc>
                <a:tc>
                  <a:txBody>
                    <a:bodyPr/>
                    <a:lstStyle/>
                    <a:p>
                      <a:pPr marL="0" algn="ctr" defTabSz="914400" rtl="0" eaLnBrk="1" fontAlgn="b" latinLnBrk="0" hangingPunct="1"/>
                      <a:r>
                        <a:rPr lang="es-ES" sz="1050" b="0" i="1" u="none" strike="noStrike" kern="1200">
                          <a:solidFill>
                            <a:srgbClr val="1F4E79"/>
                          </a:solidFill>
                          <a:effectLst/>
                          <a:latin typeface="gobCL" pitchFamily="50" charset="0"/>
                          <a:ea typeface="+mn-ea"/>
                          <a:cs typeface="+mn-cs"/>
                        </a:rPr>
                        <a:t> </a:t>
                      </a:r>
                    </a:p>
                  </a:txBody>
                  <a:tcPr marL="0" marR="0" marT="0" marB="0" anchor="ctr"/>
                </a:tc>
                <a:tc>
                  <a:txBody>
                    <a:bodyPr/>
                    <a:lstStyle/>
                    <a:p>
                      <a:pPr marL="0" algn="ctr" defTabSz="914400" rtl="0" eaLnBrk="1" fontAlgn="b" latinLnBrk="0" hangingPunct="1"/>
                      <a:r>
                        <a:rPr lang="es-ES" sz="1050" b="0" i="1" u="none" strike="noStrike" kern="1200">
                          <a:solidFill>
                            <a:srgbClr val="1F4E79"/>
                          </a:solidFill>
                          <a:effectLst/>
                          <a:latin typeface="gobCL" pitchFamily="50" charset="0"/>
                          <a:ea typeface="+mn-ea"/>
                          <a:cs typeface="+mn-cs"/>
                        </a:rPr>
                        <a:t>1.266</a:t>
                      </a:r>
                    </a:p>
                  </a:txBody>
                  <a:tcPr marL="0" marR="0" marT="0" marB="0" anchor="ctr"/>
                </a:tc>
                <a:extLst>
                  <a:ext uri="{0D108BD9-81ED-4DB2-BD59-A6C34878D82A}">
                    <a16:rowId xmlns:a16="http://schemas.microsoft.com/office/drawing/2014/main" val="1108559511"/>
                  </a:ext>
                </a:extLst>
              </a:tr>
              <a:tr h="355268">
                <a:tc>
                  <a:txBody>
                    <a:bodyPr/>
                    <a:lstStyle/>
                    <a:p>
                      <a:pPr algn="l" fontAlgn="ctr"/>
                      <a:r>
                        <a:rPr lang="es-ES" sz="1050" b="0" i="1" u="none" strike="noStrike" kern="1200">
                          <a:solidFill>
                            <a:srgbClr val="1F4E79"/>
                          </a:solidFill>
                          <a:effectLst/>
                          <a:latin typeface="gobCL" pitchFamily="50" charset="0"/>
                          <a:ea typeface="+mn-ea"/>
                          <a:cs typeface="+mn-cs"/>
                        </a:rPr>
                        <a:t>Asignación por Desempeño en Condiciones Difíciles para los AAEE</a:t>
                      </a:r>
                    </a:p>
                  </a:txBody>
                  <a:tcPr marL="0" marR="0" marT="0" marB="0" anchor="ctr"/>
                </a:tc>
                <a:tc>
                  <a:txBody>
                    <a:bodyPr/>
                    <a:lstStyle/>
                    <a:p>
                      <a:pPr marL="0" algn="ctr" defTabSz="914400" rtl="0" eaLnBrk="1" fontAlgn="b" latinLnBrk="0" hangingPunct="1"/>
                      <a:r>
                        <a:rPr lang="es-ES" sz="1050" b="0" i="1" u="none" strike="noStrike" kern="1200">
                          <a:solidFill>
                            <a:srgbClr val="1F4E79"/>
                          </a:solidFill>
                          <a:effectLst/>
                          <a:latin typeface="gobCL" pitchFamily="50" charset="0"/>
                          <a:ea typeface="+mn-ea"/>
                          <a:cs typeface="+mn-cs"/>
                        </a:rPr>
                        <a:t> </a:t>
                      </a:r>
                    </a:p>
                  </a:txBody>
                  <a:tcPr marL="0" marR="0" marT="0" marB="0" anchor="ctr"/>
                </a:tc>
                <a:tc>
                  <a:txBody>
                    <a:bodyPr/>
                    <a:lstStyle/>
                    <a:p>
                      <a:pPr marL="0" algn="ctr" defTabSz="914400" rtl="0" eaLnBrk="1" fontAlgn="b" latinLnBrk="0" hangingPunct="1"/>
                      <a:r>
                        <a:rPr lang="es-ES" sz="1050" b="0" i="1" u="none" strike="noStrike" kern="1200">
                          <a:solidFill>
                            <a:srgbClr val="1F4E79"/>
                          </a:solidFill>
                          <a:effectLst/>
                          <a:latin typeface="gobCL" pitchFamily="50" charset="0"/>
                          <a:ea typeface="+mn-ea"/>
                          <a:cs typeface="+mn-cs"/>
                        </a:rPr>
                        <a:t>1.954</a:t>
                      </a:r>
                    </a:p>
                  </a:txBody>
                  <a:tcPr marL="0" marR="0" marT="0" marB="0" anchor="ctr"/>
                </a:tc>
                <a:extLst>
                  <a:ext uri="{0D108BD9-81ED-4DB2-BD59-A6C34878D82A}">
                    <a16:rowId xmlns:a16="http://schemas.microsoft.com/office/drawing/2014/main" val="616849340"/>
                  </a:ext>
                </a:extLst>
              </a:tr>
            </a:tbl>
          </a:graphicData>
        </a:graphic>
      </p:graphicFrame>
      <p:graphicFrame>
        <p:nvGraphicFramePr>
          <p:cNvPr id="2" name="Tabla 1">
            <a:extLst>
              <a:ext uri="{FF2B5EF4-FFF2-40B4-BE49-F238E27FC236}">
                <a16:creationId xmlns:a16="http://schemas.microsoft.com/office/drawing/2014/main" id="{792BD675-9F69-674D-DCBE-62CA5706E06F}"/>
              </a:ext>
            </a:extLst>
          </p:cNvPr>
          <p:cNvGraphicFramePr>
            <a:graphicFrameLocks noGrp="1"/>
          </p:cNvGraphicFramePr>
          <p:nvPr>
            <p:extLst>
              <p:ext uri="{D42A27DB-BD31-4B8C-83A1-F6EECF244321}">
                <p14:modId xmlns:p14="http://schemas.microsoft.com/office/powerpoint/2010/main" val="3168860704"/>
              </p:ext>
            </p:extLst>
          </p:nvPr>
        </p:nvGraphicFramePr>
        <p:xfrm>
          <a:off x="5296092" y="1359937"/>
          <a:ext cx="5562408" cy="1532530"/>
        </p:xfrm>
        <a:graphic>
          <a:graphicData uri="http://schemas.openxmlformats.org/drawingml/2006/table">
            <a:tbl>
              <a:tblPr>
                <a:tableStyleId>{2D5ABB26-0587-4C30-8999-92F81FD0307C}</a:tableStyleId>
              </a:tblPr>
              <a:tblGrid>
                <a:gridCol w="3082789">
                  <a:extLst>
                    <a:ext uri="{9D8B030D-6E8A-4147-A177-3AD203B41FA5}">
                      <a16:colId xmlns:a16="http://schemas.microsoft.com/office/drawing/2014/main" val="606678842"/>
                    </a:ext>
                  </a:extLst>
                </a:gridCol>
                <a:gridCol w="647686">
                  <a:extLst>
                    <a:ext uri="{9D8B030D-6E8A-4147-A177-3AD203B41FA5}">
                      <a16:colId xmlns:a16="http://schemas.microsoft.com/office/drawing/2014/main" val="1221574371"/>
                    </a:ext>
                  </a:extLst>
                </a:gridCol>
                <a:gridCol w="608825">
                  <a:extLst>
                    <a:ext uri="{9D8B030D-6E8A-4147-A177-3AD203B41FA5}">
                      <a16:colId xmlns:a16="http://schemas.microsoft.com/office/drawing/2014/main" val="2600019557"/>
                    </a:ext>
                  </a:extLst>
                </a:gridCol>
                <a:gridCol w="531103">
                  <a:extLst>
                    <a:ext uri="{9D8B030D-6E8A-4147-A177-3AD203B41FA5}">
                      <a16:colId xmlns:a16="http://schemas.microsoft.com/office/drawing/2014/main" val="4126138483"/>
                    </a:ext>
                  </a:extLst>
                </a:gridCol>
                <a:gridCol w="692005">
                  <a:extLst>
                    <a:ext uri="{9D8B030D-6E8A-4147-A177-3AD203B41FA5}">
                      <a16:colId xmlns:a16="http://schemas.microsoft.com/office/drawing/2014/main" val="2394943746"/>
                    </a:ext>
                  </a:extLst>
                </a:gridCol>
              </a:tblGrid>
              <a:tr h="244750">
                <a:tc>
                  <a:txBody>
                    <a:bodyPr/>
                    <a:lstStyle/>
                    <a:p>
                      <a:pPr algn="l" fontAlgn="ctr"/>
                      <a:r>
                        <a:rPr lang="es-ES" sz="1200" b="1" u="none" strike="noStrike" kern="1200">
                          <a:solidFill>
                            <a:schemeClr val="bg1"/>
                          </a:solidFill>
                          <a:effectLst/>
                        </a:rPr>
                        <a:t>COSTO FISCAL AÑO</a:t>
                      </a:r>
                      <a:endParaRPr lang="es-ES" sz="1200" b="1" i="0" u="none" strike="noStrike" kern="1200">
                        <a:solidFill>
                          <a:schemeClr val="bg1"/>
                        </a:solidFill>
                        <a:effectLst/>
                        <a:latin typeface="gobCL" panose="02000603050000020004"/>
                        <a:ea typeface="+mn-ea"/>
                        <a:cs typeface="+mn-cs"/>
                      </a:endParaRPr>
                    </a:p>
                  </a:txBody>
                  <a:tcPr marL="0" marR="0" marT="0" marB="0" anchor="ctr">
                    <a:solidFill>
                      <a:srgbClr val="1F4E79"/>
                    </a:solidFill>
                  </a:tcPr>
                </a:tc>
                <a:tc>
                  <a:txBody>
                    <a:bodyPr/>
                    <a:lstStyle/>
                    <a:p>
                      <a:pPr algn="ctr" fontAlgn="ctr"/>
                      <a:r>
                        <a:rPr lang="es-ES" sz="1200" b="1" u="none" strike="noStrike" kern="1200">
                          <a:solidFill>
                            <a:schemeClr val="bg1"/>
                          </a:solidFill>
                          <a:effectLst/>
                        </a:rPr>
                        <a:t>2024</a:t>
                      </a:r>
                      <a:endParaRPr lang="es-ES" sz="1200" b="1" i="0" u="none" strike="noStrike" kern="1200">
                        <a:solidFill>
                          <a:schemeClr val="bg1"/>
                        </a:solidFill>
                        <a:effectLst/>
                        <a:latin typeface="gobCL" panose="02000603050000020004"/>
                        <a:ea typeface="+mn-ea"/>
                        <a:cs typeface="+mn-cs"/>
                      </a:endParaRPr>
                    </a:p>
                  </a:txBody>
                  <a:tcPr marL="0" marR="0" marT="0" marB="0" anchor="ctr">
                    <a:solidFill>
                      <a:srgbClr val="1F4E79"/>
                    </a:solidFill>
                  </a:tcPr>
                </a:tc>
                <a:tc>
                  <a:txBody>
                    <a:bodyPr/>
                    <a:lstStyle/>
                    <a:p>
                      <a:pPr algn="ctr" fontAlgn="ctr"/>
                      <a:r>
                        <a:rPr lang="es-ES" sz="1200" b="1" u="none" strike="noStrike" kern="1200">
                          <a:solidFill>
                            <a:schemeClr val="bg1"/>
                          </a:solidFill>
                          <a:effectLst/>
                        </a:rPr>
                        <a:t>2025</a:t>
                      </a:r>
                      <a:endParaRPr lang="es-ES" sz="1200" b="1" i="0" u="none" strike="noStrike" kern="1200">
                        <a:solidFill>
                          <a:schemeClr val="bg1"/>
                        </a:solidFill>
                        <a:effectLst/>
                        <a:latin typeface="gobCL" panose="02000603050000020004"/>
                        <a:ea typeface="+mn-ea"/>
                        <a:cs typeface="+mn-cs"/>
                      </a:endParaRPr>
                    </a:p>
                  </a:txBody>
                  <a:tcPr marL="0" marR="0" marT="0" marB="0" anchor="ctr">
                    <a:solidFill>
                      <a:srgbClr val="1F4E79"/>
                    </a:solidFill>
                  </a:tcPr>
                </a:tc>
                <a:tc>
                  <a:txBody>
                    <a:bodyPr/>
                    <a:lstStyle/>
                    <a:p>
                      <a:pPr algn="ctr" fontAlgn="ctr"/>
                      <a:r>
                        <a:rPr lang="es-ES" sz="1200" b="1" i="0" u="none" strike="noStrike" kern="1200">
                          <a:solidFill>
                            <a:schemeClr val="bg1"/>
                          </a:solidFill>
                          <a:effectLst/>
                          <a:latin typeface="gobCL" panose="02000603050000020004"/>
                          <a:ea typeface="+mn-ea"/>
                          <a:cs typeface="+mn-cs"/>
                        </a:rPr>
                        <a:t>2026</a:t>
                      </a:r>
                    </a:p>
                  </a:txBody>
                  <a:tcPr marL="0" marR="0" marT="0" marB="0" anchor="ctr">
                    <a:solidFill>
                      <a:srgbClr val="1F4E79"/>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i="0" u="none" strike="noStrike" kern="1200">
                          <a:solidFill>
                            <a:schemeClr val="bg1"/>
                          </a:solidFill>
                          <a:effectLst/>
                          <a:latin typeface="gobCL" panose="02000603050000020004"/>
                          <a:ea typeface="+mn-ea"/>
                          <a:cs typeface="+mn-cs"/>
                        </a:rPr>
                        <a:t>RÉGIMEN</a:t>
                      </a:r>
                      <a:endParaRPr lang="es-ES" sz="1050" b="1" i="0" u="none" strike="noStrike">
                        <a:solidFill>
                          <a:schemeClr val="bg1"/>
                        </a:solidFill>
                        <a:effectLst/>
                        <a:latin typeface="GobCL" panose="02000603050000020004"/>
                      </a:endParaRPr>
                    </a:p>
                  </a:txBody>
                  <a:tcPr marL="0" marR="0" marT="0" marB="0" anchor="ctr">
                    <a:solidFill>
                      <a:srgbClr val="1F4E79"/>
                    </a:solidFill>
                  </a:tcPr>
                </a:tc>
                <a:extLst>
                  <a:ext uri="{0D108BD9-81ED-4DB2-BD59-A6C34878D82A}">
                    <a16:rowId xmlns:a16="http://schemas.microsoft.com/office/drawing/2014/main" val="1120598268"/>
                  </a:ext>
                </a:extLst>
              </a:tr>
              <a:tr h="0">
                <a:tc>
                  <a:txBody>
                    <a:bodyPr/>
                    <a:lstStyle/>
                    <a:p>
                      <a:pPr marL="0" algn="l" defTabSz="914400" rtl="0" eaLnBrk="1" fontAlgn="b" latinLnBrk="0" hangingPunct="1"/>
                      <a:r>
                        <a:rPr lang="es-ES" sz="1100" b="1" u="none" strike="noStrike" kern="1200">
                          <a:solidFill>
                            <a:srgbClr val="1F4E79"/>
                          </a:solidFill>
                          <a:effectLst/>
                          <a:latin typeface="gobCL" pitchFamily="50" charset="0"/>
                          <a:ea typeface="+mn-ea"/>
                          <a:cs typeface="+mn-cs"/>
                        </a:rPr>
                        <a:t>Planes de retiro</a:t>
                      </a:r>
                    </a:p>
                  </a:txBody>
                  <a:tcPr marL="0" marR="0" marT="0" marB="0" anchor="b"/>
                </a:tc>
                <a:tc>
                  <a:txBody>
                    <a:bodyPr/>
                    <a:lstStyle/>
                    <a:p>
                      <a:pPr algn="ctr" fontAlgn="ctr"/>
                      <a:r>
                        <a:rPr lang="es-CL" sz="1100" b="1" u="none" strike="noStrike" kern="1200">
                          <a:solidFill>
                            <a:srgbClr val="1F4E79"/>
                          </a:solidFill>
                          <a:effectLst/>
                          <a:latin typeface="gobCL" pitchFamily="50" charset="0"/>
                          <a:ea typeface="+mn-ea"/>
                          <a:cs typeface="+mn-cs"/>
                        </a:rPr>
                        <a:t>37.307</a:t>
                      </a:r>
                    </a:p>
                  </a:txBody>
                  <a:tcPr marL="0" marR="0" marT="0" marB="0" anchor="ctr"/>
                </a:tc>
                <a:tc>
                  <a:txBody>
                    <a:bodyPr/>
                    <a:lstStyle/>
                    <a:p>
                      <a:pPr algn="ctr" fontAlgn="ctr"/>
                      <a:r>
                        <a:rPr lang="es-CL" sz="1100" b="1" u="none" strike="noStrike" kern="1200">
                          <a:solidFill>
                            <a:srgbClr val="1F4E79"/>
                          </a:solidFill>
                          <a:effectLst/>
                          <a:latin typeface="gobCL" pitchFamily="50" charset="0"/>
                          <a:ea typeface="+mn-ea"/>
                          <a:cs typeface="+mn-cs"/>
                        </a:rPr>
                        <a:t>103.728</a:t>
                      </a:r>
                    </a:p>
                  </a:txBody>
                  <a:tcPr marL="0" marR="0" marT="0" marB="0" anchor="ctr"/>
                </a:tc>
                <a:tc>
                  <a:txBody>
                    <a:bodyPr/>
                    <a:lstStyle/>
                    <a:p>
                      <a:pPr algn="ctr" fontAlgn="ctr"/>
                      <a:r>
                        <a:rPr lang="es-CL" sz="1100" b="1" u="none" strike="noStrike" kern="1200">
                          <a:solidFill>
                            <a:srgbClr val="1F4E79"/>
                          </a:solidFill>
                          <a:effectLst/>
                          <a:latin typeface="gobCL" pitchFamily="50" charset="0"/>
                          <a:ea typeface="+mn-ea"/>
                          <a:cs typeface="+mn-cs"/>
                        </a:rPr>
                        <a:t>292.024</a:t>
                      </a:r>
                    </a:p>
                  </a:txBody>
                  <a:tcPr marL="0" marR="0" marT="0" marB="0" anchor="ctr"/>
                </a:tc>
                <a:tc>
                  <a:txBody>
                    <a:bodyPr/>
                    <a:lstStyle/>
                    <a:p>
                      <a:pPr algn="ctr" fontAlgn="ctr"/>
                      <a:r>
                        <a:rPr lang="es-CL" sz="1100" b="1" u="none" strike="noStrike" kern="1200">
                          <a:solidFill>
                            <a:srgbClr val="1F4E79"/>
                          </a:solidFill>
                          <a:effectLst/>
                          <a:latin typeface="gobCL" pitchFamily="50" charset="0"/>
                          <a:ea typeface="+mn-ea"/>
                          <a:cs typeface="+mn-cs"/>
                        </a:rPr>
                        <a:t>0</a:t>
                      </a:r>
                    </a:p>
                  </a:txBody>
                  <a:tcPr marL="0" marR="0" marT="0" marB="0" anchor="ctr"/>
                </a:tc>
                <a:extLst>
                  <a:ext uri="{0D108BD9-81ED-4DB2-BD59-A6C34878D82A}">
                    <a16:rowId xmlns:a16="http://schemas.microsoft.com/office/drawing/2014/main" val="2438857758"/>
                  </a:ext>
                </a:extLst>
              </a:tr>
              <a:tr h="0">
                <a:tc>
                  <a:txBody>
                    <a:bodyPr/>
                    <a:lstStyle/>
                    <a:p>
                      <a:pPr algn="l" fontAlgn="ctr"/>
                      <a:r>
                        <a:rPr lang="es-ES" sz="1050" b="0" i="1" u="none" strike="noStrike" kern="1200">
                          <a:solidFill>
                            <a:srgbClr val="1F4E79"/>
                          </a:solidFill>
                          <a:effectLst/>
                          <a:latin typeface="gobCL" pitchFamily="50" charset="0"/>
                          <a:ea typeface="+mn-ea"/>
                          <a:cs typeface="+mn-cs"/>
                        </a:rPr>
                        <a:t>Extiende plazo para funcionarios de 70 o más años y enfermos terminales</a:t>
                      </a:r>
                    </a:p>
                  </a:txBody>
                  <a:tcPr marL="0" marR="0" marT="0" marB="0" anchor="ctr"/>
                </a:tc>
                <a:tc>
                  <a:txBody>
                    <a:bodyPr/>
                    <a:lstStyle/>
                    <a:p>
                      <a:pPr algn="ctr" fontAlgn="ctr"/>
                      <a:r>
                        <a:rPr lang="es-CL" sz="1050" b="0" i="1" u="none" strike="noStrike" kern="1200">
                          <a:solidFill>
                            <a:srgbClr val="1F4E79"/>
                          </a:solidFill>
                          <a:effectLst/>
                          <a:latin typeface="gobCL" pitchFamily="50" charset="0"/>
                          <a:ea typeface="+mn-ea"/>
                          <a:cs typeface="+mn-cs"/>
                        </a:rPr>
                        <a:t>32.612</a:t>
                      </a:r>
                    </a:p>
                  </a:txBody>
                  <a:tcPr marL="0" marR="0" marT="0" marB="0" anchor="ctr"/>
                </a:tc>
                <a:tc>
                  <a:txBody>
                    <a:bodyPr/>
                    <a:lstStyle/>
                    <a:p>
                      <a:pPr algn="ctr" fontAlgn="ctr"/>
                      <a:r>
                        <a:rPr lang="es-CL" sz="1050" b="0" i="1" u="none" strike="noStrike" kern="1200">
                          <a:solidFill>
                            <a:srgbClr val="1F4E79"/>
                          </a:solidFill>
                          <a:effectLst/>
                          <a:latin typeface="gobCL" pitchFamily="50" charset="0"/>
                          <a:ea typeface="+mn-ea"/>
                          <a:cs typeface="+mn-cs"/>
                        </a:rPr>
                        <a:t>0</a:t>
                      </a:r>
                    </a:p>
                  </a:txBody>
                  <a:tcPr marL="0" marR="0" marT="0" marB="0" anchor="ctr"/>
                </a:tc>
                <a:tc>
                  <a:txBody>
                    <a:bodyPr/>
                    <a:lstStyle/>
                    <a:p>
                      <a:pPr algn="ctr" fontAlgn="ctr"/>
                      <a:r>
                        <a:rPr lang="es-CL" sz="1050" b="0" i="1" u="none" strike="noStrike" kern="1200">
                          <a:solidFill>
                            <a:srgbClr val="1F4E79"/>
                          </a:solidFill>
                          <a:effectLst/>
                          <a:latin typeface="gobCL" pitchFamily="50" charset="0"/>
                          <a:ea typeface="+mn-ea"/>
                          <a:cs typeface="+mn-cs"/>
                        </a:rPr>
                        <a:t>0</a:t>
                      </a:r>
                    </a:p>
                  </a:txBody>
                  <a:tcPr marL="0" marR="0" marT="0" marB="0" anchor="ctr"/>
                </a:tc>
                <a:tc>
                  <a:txBody>
                    <a:bodyPr/>
                    <a:lstStyle/>
                    <a:p>
                      <a:pPr algn="ctr" fontAlgn="ctr"/>
                      <a:r>
                        <a:rPr lang="es-CL" sz="1050" b="0" i="1" u="none" strike="noStrike" kern="1200">
                          <a:solidFill>
                            <a:srgbClr val="1F4E79"/>
                          </a:solidFill>
                          <a:effectLst/>
                          <a:latin typeface="gobCL" pitchFamily="50" charset="0"/>
                          <a:ea typeface="+mn-ea"/>
                          <a:cs typeface="+mn-cs"/>
                        </a:rPr>
                        <a:t>0</a:t>
                      </a:r>
                    </a:p>
                  </a:txBody>
                  <a:tcPr marL="0" marR="0" marT="0" marB="0" anchor="ctr"/>
                </a:tc>
                <a:extLst>
                  <a:ext uri="{0D108BD9-81ED-4DB2-BD59-A6C34878D82A}">
                    <a16:rowId xmlns:a16="http://schemas.microsoft.com/office/drawing/2014/main" val="936477911"/>
                  </a:ext>
                </a:extLst>
              </a:tr>
              <a:tr h="0">
                <a:tc>
                  <a:txBody>
                    <a:bodyPr/>
                    <a:lstStyle/>
                    <a:p>
                      <a:pPr algn="l" fontAlgn="ctr"/>
                      <a:r>
                        <a:rPr lang="es-ES" sz="1050" b="0" i="1" u="none" strike="noStrike" kern="1200">
                          <a:solidFill>
                            <a:srgbClr val="1F4E79"/>
                          </a:solidFill>
                          <a:effectLst/>
                          <a:latin typeface="gobCL" pitchFamily="50" charset="0"/>
                          <a:ea typeface="+mn-ea"/>
                          <a:cs typeface="+mn-cs"/>
                        </a:rPr>
                        <a:t>Extensión vigencia leyes de incentivo al retiro y cupos adicionales (cupos)</a:t>
                      </a:r>
                    </a:p>
                  </a:txBody>
                  <a:tcPr marL="0" marR="0" marT="0" marB="0" anchor="ctr">
                    <a:solidFill>
                      <a:schemeClr val="bg1"/>
                    </a:solidFill>
                  </a:tcPr>
                </a:tc>
                <a:tc>
                  <a:txBody>
                    <a:bodyPr/>
                    <a:lstStyle/>
                    <a:p>
                      <a:pPr algn="ctr" fontAlgn="ctr"/>
                      <a:r>
                        <a:rPr lang="es-CL" sz="1050" b="0" i="1" u="none" strike="noStrike" kern="1200">
                          <a:solidFill>
                            <a:srgbClr val="1F4E79"/>
                          </a:solidFill>
                          <a:effectLst/>
                          <a:latin typeface="gobCL" pitchFamily="50" charset="0"/>
                          <a:ea typeface="+mn-ea"/>
                          <a:cs typeface="+mn-cs"/>
                        </a:rPr>
                        <a:t>2.095</a:t>
                      </a:r>
                    </a:p>
                  </a:txBody>
                  <a:tcPr marL="0" marR="0" marT="0" marB="0" anchor="ctr">
                    <a:solidFill>
                      <a:schemeClr val="bg1"/>
                    </a:solidFill>
                  </a:tcPr>
                </a:tc>
                <a:tc>
                  <a:txBody>
                    <a:bodyPr/>
                    <a:lstStyle/>
                    <a:p>
                      <a:pPr algn="ctr" fontAlgn="ctr"/>
                      <a:r>
                        <a:rPr lang="es-CL" sz="1050" b="0" i="1" u="none" strike="noStrike" kern="1200">
                          <a:solidFill>
                            <a:srgbClr val="1F4E79"/>
                          </a:solidFill>
                          <a:effectLst/>
                          <a:latin typeface="gobCL" pitchFamily="50" charset="0"/>
                          <a:ea typeface="+mn-ea"/>
                          <a:cs typeface="+mn-cs"/>
                        </a:rPr>
                        <a:t>103.648</a:t>
                      </a:r>
                    </a:p>
                  </a:txBody>
                  <a:tcPr marL="0" marR="0" marT="0" marB="0" anchor="ctr">
                    <a:solidFill>
                      <a:schemeClr val="bg1"/>
                    </a:solidFill>
                  </a:tcPr>
                </a:tc>
                <a:tc>
                  <a:txBody>
                    <a:bodyPr/>
                    <a:lstStyle/>
                    <a:p>
                      <a:pPr algn="ctr" fontAlgn="ctr"/>
                      <a:r>
                        <a:rPr lang="es-CL" sz="1050" b="0" i="1" u="none" strike="noStrike" kern="1200">
                          <a:solidFill>
                            <a:srgbClr val="1F4E79"/>
                          </a:solidFill>
                          <a:effectLst/>
                          <a:latin typeface="gobCL" pitchFamily="50" charset="0"/>
                          <a:ea typeface="+mn-ea"/>
                          <a:cs typeface="+mn-cs"/>
                        </a:rPr>
                        <a:t>292.024</a:t>
                      </a:r>
                    </a:p>
                  </a:txBody>
                  <a:tcPr marL="0" marR="0" marT="0" marB="0" anchor="ctr">
                    <a:solidFill>
                      <a:schemeClr val="bg1"/>
                    </a:solidFill>
                  </a:tcPr>
                </a:tc>
                <a:tc>
                  <a:txBody>
                    <a:bodyPr/>
                    <a:lstStyle/>
                    <a:p>
                      <a:pPr algn="ctr" fontAlgn="ctr"/>
                      <a:r>
                        <a:rPr lang="es-CL" sz="1050" b="0" i="1" u="none" strike="noStrike" kern="1200">
                          <a:solidFill>
                            <a:srgbClr val="1F4E79"/>
                          </a:solidFill>
                          <a:effectLst/>
                          <a:latin typeface="gobCL" pitchFamily="50" charset="0"/>
                          <a:ea typeface="+mn-ea"/>
                          <a:cs typeface="+mn-cs"/>
                        </a:rPr>
                        <a:t>0</a:t>
                      </a:r>
                    </a:p>
                  </a:txBody>
                  <a:tcPr marL="0" marR="0" marT="0" marB="0" anchor="ctr">
                    <a:solidFill>
                      <a:schemeClr val="bg1"/>
                    </a:solidFill>
                  </a:tcPr>
                </a:tc>
                <a:extLst>
                  <a:ext uri="{0D108BD9-81ED-4DB2-BD59-A6C34878D82A}">
                    <a16:rowId xmlns:a16="http://schemas.microsoft.com/office/drawing/2014/main" val="3019193479"/>
                  </a:ext>
                </a:extLst>
              </a:tr>
              <a:tr h="0">
                <a:tc>
                  <a:txBody>
                    <a:bodyPr/>
                    <a:lstStyle/>
                    <a:p>
                      <a:pPr algn="l" fontAlgn="ctr"/>
                      <a:r>
                        <a:rPr lang="es-ES" sz="1050" b="0" i="1" u="none" strike="noStrike" kern="1200">
                          <a:solidFill>
                            <a:srgbClr val="1F4E79"/>
                          </a:solidFill>
                          <a:effectLst/>
                          <a:latin typeface="gobCL" pitchFamily="50" charset="0"/>
                          <a:ea typeface="+mn-ea"/>
                          <a:cs typeface="+mn-cs"/>
                        </a:rPr>
                        <a:t>Planes de retiro PMU (Proempleo)</a:t>
                      </a:r>
                    </a:p>
                  </a:txBody>
                  <a:tcPr marL="0" marR="0" marT="0" marB="0" anchor="ctr"/>
                </a:tc>
                <a:tc>
                  <a:txBody>
                    <a:bodyPr/>
                    <a:lstStyle/>
                    <a:p>
                      <a:pPr algn="ctr" fontAlgn="ctr"/>
                      <a:r>
                        <a:rPr lang="es-CL" sz="1050" b="0" i="1" u="none" strike="noStrike" kern="1200">
                          <a:solidFill>
                            <a:srgbClr val="1F4E79"/>
                          </a:solidFill>
                          <a:effectLst/>
                          <a:latin typeface="gobCL" pitchFamily="50" charset="0"/>
                          <a:ea typeface="+mn-ea"/>
                          <a:cs typeface="+mn-cs"/>
                        </a:rPr>
                        <a:t>2.275</a:t>
                      </a:r>
                    </a:p>
                  </a:txBody>
                  <a:tcPr marL="0" marR="0" marT="0" marB="0" anchor="ctr"/>
                </a:tc>
                <a:tc>
                  <a:txBody>
                    <a:bodyPr/>
                    <a:lstStyle/>
                    <a:p>
                      <a:pPr algn="ctr" fontAlgn="ctr"/>
                      <a:r>
                        <a:rPr lang="es-CL" sz="1050" b="0" i="1" u="none" strike="noStrike" kern="1200">
                          <a:solidFill>
                            <a:srgbClr val="1F4E79"/>
                          </a:solidFill>
                          <a:effectLst/>
                          <a:latin typeface="gobCL" pitchFamily="50" charset="0"/>
                          <a:ea typeface="+mn-ea"/>
                          <a:cs typeface="+mn-cs"/>
                        </a:rPr>
                        <a:t>0</a:t>
                      </a:r>
                    </a:p>
                  </a:txBody>
                  <a:tcPr marL="0" marR="0" marT="0" marB="0" anchor="ctr"/>
                </a:tc>
                <a:tc>
                  <a:txBody>
                    <a:bodyPr/>
                    <a:lstStyle/>
                    <a:p>
                      <a:pPr algn="ctr" fontAlgn="ctr"/>
                      <a:r>
                        <a:rPr lang="es-CL" sz="1050" b="0" i="1" u="none" strike="noStrike" kern="1200">
                          <a:solidFill>
                            <a:srgbClr val="1F4E79"/>
                          </a:solidFill>
                          <a:effectLst/>
                          <a:latin typeface="gobCL" pitchFamily="50" charset="0"/>
                          <a:ea typeface="+mn-ea"/>
                          <a:cs typeface="+mn-cs"/>
                        </a:rPr>
                        <a:t>0</a:t>
                      </a:r>
                    </a:p>
                  </a:txBody>
                  <a:tcPr marL="0" marR="0" marT="0" marB="0" anchor="ctr"/>
                </a:tc>
                <a:tc>
                  <a:txBody>
                    <a:bodyPr/>
                    <a:lstStyle/>
                    <a:p>
                      <a:pPr algn="ctr" fontAlgn="ctr"/>
                      <a:r>
                        <a:rPr lang="es-CL" sz="1050" b="0" i="1" u="none" strike="noStrike" kern="1200">
                          <a:solidFill>
                            <a:srgbClr val="1F4E79"/>
                          </a:solidFill>
                          <a:effectLst/>
                          <a:latin typeface="gobCL" pitchFamily="50" charset="0"/>
                          <a:ea typeface="+mn-ea"/>
                          <a:cs typeface="+mn-cs"/>
                        </a:rPr>
                        <a:t>0</a:t>
                      </a:r>
                    </a:p>
                  </a:txBody>
                  <a:tcPr marL="0" marR="0" marT="0" marB="0" anchor="ctr"/>
                </a:tc>
                <a:extLst>
                  <a:ext uri="{0D108BD9-81ED-4DB2-BD59-A6C34878D82A}">
                    <a16:rowId xmlns:a16="http://schemas.microsoft.com/office/drawing/2014/main" val="1788102713"/>
                  </a:ext>
                </a:extLst>
              </a:tr>
              <a:tr h="0">
                <a:tc>
                  <a:txBody>
                    <a:bodyPr/>
                    <a:lstStyle/>
                    <a:p>
                      <a:pPr algn="l" fontAlgn="ctr"/>
                      <a:r>
                        <a:rPr lang="es-ES" sz="1050" b="0" i="1" u="none" strike="noStrike" kern="1200">
                          <a:solidFill>
                            <a:srgbClr val="1F4E79"/>
                          </a:solidFill>
                          <a:effectLst/>
                          <a:latin typeface="gobCL" pitchFamily="50" charset="0"/>
                          <a:ea typeface="+mn-ea"/>
                          <a:cs typeface="+mn-cs"/>
                        </a:rPr>
                        <a:t>Incorporación Tricel y Justicia Electoral al régimen de retiro voluntario y de bonificación adicional.</a:t>
                      </a:r>
                    </a:p>
                  </a:txBody>
                  <a:tcPr marL="0" marR="0" marT="0" marB="0" anchor="ctr"/>
                </a:tc>
                <a:tc>
                  <a:txBody>
                    <a:bodyPr/>
                    <a:lstStyle/>
                    <a:p>
                      <a:pPr algn="ctr" fontAlgn="ctr"/>
                      <a:r>
                        <a:rPr lang="es-CL" sz="1050" b="0" i="1" u="none" strike="noStrike" kern="1200">
                          <a:solidFill>
                            <a:srgbClr val="1F4E79"/>
                          </a:solidFill>
                          <a:effectLst/>
                          <a:latin typeface="gobCL" pitchFamily="50" charset="0"/>
                          <a:ea typeface="+mn-ea"/>
                          <a:cs typeface="+mn-cs"/>
                        </a:rPr>
                        <a:t>325</a:t>
                      </a:r>
                    </a:p>
                  </a:txBody>
                  <a:tcPr marL="0" marR="0" marT="0" marB="0" anchor="ctr"/>
                </a:tc>
                <a:tc>
                  <a:txBody>
                    <a:bodyPr/>
                    <a:lstStyle/>
                    <a:p>
                      <a:pPr algn="ctr" fontAlgn="ctr"/>
                      <a:r>
                        <a:rPr lang="es-CL" sz="1050" b="0" i="1" u="none" strike="noStrike" kern="1200">
                          <a:solidFill>
                            <a:srgbClr val="1F4E79"/>
                          </a:solidFill>
                          <a:effectLst/>
                          <a:latin typeface="gobCL" pitchFamily="50" charset="0"/>
                          <a:ea typeface="+mn-ea"/>
                          <a:cs typeface="+mn-cs"/>
                        </a:rPr>
                        <a:t>80</a:t>
                      </a:r>
                    </a:p>
                  </a:txBody>
                  <a:tcPr marL="0" marR="0" marT="0" marB="0" anchor="ctr"/>
                </a:tc>
                <a:tc>
                  <a:txBody>
                    <a:bodyPr/>
                    <a:lstStyle/>
                    <a:p>
                      <a:pPr algn="ctr" fontAlgn="ctr"/>
                      <a:r>
                        <a:rPr lang="es-CL" sz="1050" b="0" i="1" u="none" strike="noStrike" kern="1200">
                          <a:solidFill>
                            <a:srgbClr val="1F4E79"/>
                          </a:solidFill>
                          <a:effectLst/>
                          <a:latin typeface="gobCL" pitchFamily="50" charset="0"/>
                          <a:ea typeface="+mn-ea"/>
                          <a:cs typeface="+mn-cs"/>
                        </a:rPr>
                        <a:t>0</a:t>
                      </a:r>
                    </a:p>
                  </a:txBody>
                  <a:tcPr marL="0" marR="0" marT="0" marB="0" anchor="ctr"/>
                </a:tc>
                <a:tc>
                  <a:txBody>
                    <a:bodyPr/>
                    <a:lstStyle/>
                    <a:p>
                      <a:pPr algn="ctr" fontAlgn="ctr"/>
                      <a:r>
                        <a:rPr lang="es-CL" sz="1050" b="0" i="1" u="none" strike="noStrike" kern="1200">
                          <a:solidFill>
                            <a:srgbClr val="1F4E79"/>
                          </a:solidFill>
                          <a:effectLst/>
                          <a:latin typeface="gobCL" pitchFamily="50" charset="0"/>
                          <a:ea typeface="+mn-ea"/>
                          <a:cs typeface="+mn-cs"/>
                        </a:rPr>
                        <a:t>0</a:t>
                      </a:r>
                    </a:p>
                  </a:txBody>
                  <a:tcPr marL="0" marR="0" marT="0" marB="0" anchor="ctr"/>
                </a:tc>
                <a:extLst>
                  <a:ext uri="{0D108BD9-81ED-4DB2-BD59-A6C34878D82A}">
                    <a16:rowId xmlns:a16="http://schemas.microsoft.com/office/drawing/2014/main" val="1181309041"/>
                  </a:ext>
                </a:extLst>
              </a:tr>
            </a:tbl>
          </a:graphicData>
        </a:graphic>
      </p:graphicFrame>
      <p:graphicFrame>
        <p:nvGraphicFramePr>
          <p:cNvPr id="4" name="Tabla 3">
            <a:extLst>
              <a:ext uri="{FF2B5EF4-FFF2-40B4-BE49-F238E27FC236}">
                <a16:creationId xmlns:a16="http://schemas.microsoft.com/office/drawing/2014/main" id="{2DD0B1E3-800E-8BD9-64EC-34326D6886D7}"/>
              </a:ext>
            </a:extLst>
          </p:cNvPr>
          <p:cNvGraphicFramePr>
            <a:graphicFrameLocks noGrp="1"/>
          </p:cNvGraphicFramePr>
          <p:nvPr>
            <p:extLst>
              <p:ext uri="{D42A27DB-BD31-4B8C-83A1-F6EECF244321}">
                <p14:modId xmlns:p14="http://schemas.microsoft.com/office/powerpoint/2010/main" val="3281592116"/>
              </p:ext>
            </p:extLst>
          </p:nvPr>
        </p:nvGraphicFramePr>
        <p:xfrm>
          <a:off x="5270498" y="5320509"/>
          <a:ext cx="5588002" cy="605534"/>
        </p:xfrm>
        <a:graphic>
          <a:graphicData uri="http://schemas.openxmlformats.org/drawingml/2006/table">
            <a:tbl>
              <a:tblPr>
                <a:tableStyleId>{2D5ABB26-0587-4C30-8999-92F81FD0307C}</a:tableStyleId>
              </a:tblPr>
              <a:tblGrid>
                <a:gridCol w="1803400">
                  <a:extLst>
                    <a:ext uri="{9D8B030D-6E8A-4147-A177-3AD203B41FA5}">
                      <a16:colId xmlns:a16="http://schemas.microsoft.com/office/drawing/2014/main" val="104162945"/>
                    </a:ext>
                  </a:extLst>
                </a:gridCol>
                <a:gridCol w="736600">
                  <a:extLst>
                    <a:ext uri="{9D8B030D-6E8A-4147-A177-3AD203B41FA5}">
                      <a16:colId xmlns:a16="http://schemas.microsoft.com/office/drawing/2014/main" val="3047745982"/>
                    </a:ext>
                  </a:extLst>
                </a:gridCol>
                <a:gridCol w="812800">
                  <a:extLst>
                    <a:ext uri="{9D8B030D-6E8A-4147-A177-3AD203B41FA5}">
                      <a16:colId xmlns:a16="http://schemas.microsoft.com/office/drawing/2014/main" val="2643720310"/>
                    </a:ext>
                  </a:extLst>
                </a:gridCol>
                <a:gridCol w="736600">
                  <a:extLst>
                    <a:ext uri="{9D8B030D-6E8A-4147-A177-3AD203B41FA5}">
                      <a16:colId xmlns:a16="http://schemas.microsoft.com/office/drawing/2014/main" val="2169541615"/>
                    </a:ext>
                  </a:extLst>
                </a:gridCol>
                <a:gridCol w="685800">
                  <a:extLst>
                    <a:ext uri="{9D8B030D-6E8A-4147-A177-3AD203B41FA5}">
                      <a16:colId xmlns:a16="http://schemas.microsoft.com/office/drawing/2014/main" val="526938526"/>
                    </a:ext>
                  </a:extLst>
                </a:gridCol>
                <a:gridCol w="812802">
                  <a:extLst>
                    <a:ext uri="{9D8B030D-6E8A-4147-A177-3AD203B41FA5}">
                      <a16:colId xmlns:a16="http://schemas.microsoft.com/office/drawing/2014/main" val="2757222004"/>
                    </a:ext>
                  </a:extLst>
                </a:gridCol>
              </a:tblGrid>
              <a:tr h="265063">
                <a:tc>
                  <a:txBody>
                    <a:bodyPr/>
                    <a:lstStyle/>
                    <a:p>
                      <a:pPr algn="l" fontAlgn="ctr"/>
                      <a:r>
                        <a:rPr lang="es-ES" sz="1200" b="1" u="none" strike="noStrike">
                          <a:solidFill>
                            <a:schemeClr val="bg1"/>
                          </a:solidFill>
                          <a:effectLst/>
                        </a:rPr>
                        <a:t>COSTO FISCAL AÑO</a:t>
                      </a:r>
                      <a:endParaRPr lang="es-ES" sz="1200" b="1" i="0" u="none" strike="noStrike">
                        <a:solidFill>
                          <a:schemeClr val="bg1"/>
                        </a:solidFill>
                        <a:effectLst/>
                        <a:latin typeface="GobCL" panose="02000603050000020004"/>
                      </a:endParaRPr>
                    </a:p>
                  </a:txBody>
                  <a:tcPr marL="0" marR="0" marT="0" marB="0" anchor="ctr">
                    <a:solidFill>
                      <a:srgbClr val="1F4E79"/>
                    </a:solidFill>
                  </a:tcPr>
                </a:tc>
                <a:tc>
                  <a:txBody>
                    <a:bodyPr/>
                    <a:lstStyle/>
                    <a:p>
                      <a:pPr algn="ctr" fontAlgn="ctr"/>
                      <a:r>
                        <a:rPr lang="es-ES" sz="1200" b="1" u="none" strike="noStrike">
                          <a:solidFill>
                            <a:schemeClr val="bg1"/>
                          </a:solidFill>
                          <a:effectLst/>
                        </a:rPr>
                        <a:t>2023</a:t>
                      </a:r>
                      <a:endParaRPr lang="es-ES" sz="1200" b="1" i="0" u="none" strike="noStrike">
                        <a:solidFill>
                          <a:schemeClr val="bg1"/>
                        </a:solidFill>
                        <a:effectLst/>
                        <a:latin typeface="GobCL" panose="02000603050000020004"/>
                      </a:endParaRPr>
                    </a:p>
                  </a:txBody>
                  <a:tcPr marL="0" marR="0" marT="0" marB="0" anchor="ctr">
                    <a:solidFill>
                      <a:srgbClr val="1F4E79"/>
                    </a:solidFill>
                  </a:tcPr>
                </a:tc>
                <a:tc>
                  <a:txBody>
                    <a:bodyPr/>
                    <a:lstStyle/>
                    <a:p>
                      <a:pPr algn="ctr" fontAlgn="ctr"/>
                      <a:r>
                        <a:rPr lang="es-ES" sz="1200" b="1" u="none" strike="noStrike" kern="1200">
                          <a:solidFill>
                            <a:schemeClr val="bg1"/>
                          </a:solidFill>
                          <a:effectLst/>
                          <a:latin typeface="+mn-lt"/>
                          <a:ea typeface="+mn-ea"/>
                          <a:cs typeface="+mn-cs"/>
                        </a:rPr>
                        <a:t>2024</a:t>
                      </a:r>
                    </a:p>
                  </a:txBody>
                  <a:tcPr marL="0" marR="0" marT="0" marB="0" anchor="ctr">
                    <a:solidFill>
                      <a:srgbClr val="1F4E79"/>
                    </a:solidFill>
                  </a:tcPr>
                </a:tc>
                <a:tc>
                  <a:txBody>
                    <a:bodyPr/>
                    <a:lstStyle/>
                    <a:p>
                      <a:pPr algn="ctr" fontAlgn="ctr"/>
                      <a:r>
                        <a:rPr lang="es-ES" sz="1200" b="1" u="none" strike="noStrike" kern="1200">
                          <a:solidFill>
                            <a:schemeClr val="bg1"/>
                          </a:solidFill>
                          <a:effectLst/>
                          <a:latin typeface="+mn-lt"/>
                          <a:ea typeface="+mn-ea"/>
                          <a:cs typeface="+mn-cs"/>
                        </a:rPr>
                        <a:t>2025</a:t>
                      </a:r>
                    </a:p>
                  </a:txBody>
                  <a:tcPr marL="0" marR="0" marT="0" marB="0" anchor="ctr">
                    <a:solidFill>
                      <a:srgbClr val="1F4E79"/>
                    </a:solidFill>
                  </a:tcPr>
                </a:tc>
                <a:tc>
                  <a:txBody>
                    <a:bodyPr/>
                    <a:lstStyle/>
                    <a:p>
                      <a:pPr algn="ctr" fontAlgn="ctr"/>
                      <a:r>
                        <a:rPr lang="es-ES" sz="1200" b="1" u="none" strike="noStrike" kern="1200">
                          <a:solidFill>
                            <a:schemeClr val="bg1"/>
                          </a:solidFill>
                          <a:effectLst/>
                          <a:latin typeface="+mn-lt"/>
                          <a:ea typeface="+mn-ea"/>
                          <a:cs typeface="+mn-cs"/>
                        </a:rPr>
                        <a:t>2026</a:t>
                      </a:r>
                    </a:p>
                  </a:txBody>
                  <a:tcPr marL="0" marR="0" marT="0" marB="0" anchor="ctr">
                    <a:solidFill>
                      <a:srgbClr val="1F4E79"/>
                    </a:solidFill>
                  </a:tcPr>
                </a:tc>
                <a:tc>
                  <a:txBody>
                    <a:bodyPr/>
                    <a:lstStyle/>
                    <a:p>
                      <a:pPr algn="ctr" fontAlgn="ctr"/>
                      <a:r>
                        <a:rPr lang="es-ES" sz="1200" b="1" u="none" strike="noStrike" kern="1200">
                          <a:solidFill>
                            <a:schemeClr val="bg1"/>
                          </a:solidFill>
                          <a:effectLst/>
                          <a:latin typeface="+mn-lt"/>
                          <a:ea typeface="+mn-ea"/>
                          <a:cs typeface="+mn-cs"/>
                        </a:rPr>
                        <a:t>RÉGIMEN</a:t>
                      </a:r>
                    </a:p>
                  </a:txBody>
                  <a:tcPr marL="0" marR="0" marT="0" marB="0" anchor="ctr">
                    <a:solidFill>
                      <a:srgbClr val="1F4E79"/>
                    </a:solidFill>
                  </a:tcPr>
                </a:tc>
                <a:extLst>
                  <a:ext uri="{0D108BD9-81ED-4DB2-BD59-A6C34878D82A}">
                    <a16:rowId xmlns:a16="http://schemas.microsoft.com/office/drawing/2014/main" val="1876091327"/>
                  </a:ext>
                </a:extLst>
              </a:tr>
              <a:tr h="340471">
                <a:tc>
                  <a:txBody>
                    <a:bodyPr/>
                    <a:lstStyle/>
                    <a:p>
                      <a:pPr algn="l" fontAlgn="b"/>
                      <a:r>
                        <a:rPr lang="es-ES" sz="1200" b="1" u="none" strike="noStrike" kern="1200">
                          <a:solidFill>
                            <a:srgbClr val="1F4E79"/>
                          </a:solidFill>
                          <a:effectLst/>
                          <a:latin typeface="gobCL" pitchFamily="50" charset="0"/>
                          <a:ea typeface="+mn-ea"/>
                          <a:cs typeface="+mn-cs"/>
                        </a:rPr>
                        <a:t>COSTO TOTAL EN MM$</a:t>
                      </a:r>
                    </a:p>
                  </a:txBody>
                  <a:tcPr marL="0" marR="0" marT="0" marB="0" anchor="ctr">
                    <a:noFill/>
                  </a:tcPr>
                </a:tc>
                <a:tc>
                  <a:txBody>
                    <a:bodyPr/>
                    <a:lstStyle/>
                    <a:p>
                      <a:pPr algn="ctr" fontAlgn="ctr"/>
                      <a:r>
                        <a:rPr lang="es-CL" sz="1200" b="1" u="none" strike="noStrike" kern="1200">
                          <a:solidFill>
                            <a:srgbClr val="1F4E79"/>
                          </a:solidFill>
                          <a:effectLst/>
                          <a:latin typeface="gobCL" pitchFamily="50" charset="0"/>
                          <a:ea typeface="+mn-ea"/>
                          <a:cs typeface="+mn-cs"/>
                        </a:rPr>
                        <a:t>308.811</a:t>
                      </a:r>
                    </a:p>
                  </a:txBody>
                  <a:tcPr marL="0" marR="0" marT="0" marB="0" anchor="ctr">
                    <a:noFill/>
                  </a:tcPr>
                </a:tc>
                <a:tc>
                  <a:txBody>
                    <a:bodyPr/>
                    <a:lstStyle/>
                    <a:p>
                      <a:pPr algn="ctr" fontAlgn="ctr"/>
                      <a:r>
                        <a:rPr lang="es-CL" sz="1200" b="1" u="none" strike="noStrike" kern="1200">
                          <a:solidFill>
                            <a:srgbClr val="1F4E79"/>
                          </a:solidFill>
                          <a:effectLst/>
                          <a:latin typeface="gobCL" pitchFamily="50" charset="0"/>
                          <a:ea typeface="+mn-ea"/>
                          <a:cs typeface="+mn-cs"/>
                        </a:rPr>
                        <a:t>1.710.178</a:t>
                      </a:r>
                    </a:p>
                  </a:txBody>
                  <a:tcPr marL="0" marR="0" marT="0" marB="0" anchor="ctr">
                    <a:noFill/>
                  </a:tcPr>
                </a:tc>
                <a:tc>
                  <a:txBody>
                    <a:bodyPr/>
                    <a:lstStyle/>
                    <a:p>
                      <a:pPr algn="r" fontAlgn="ctr"/>
                      <a:r>
                        <a:rPr lang="es-CL" sz="1200" b="1" u="none" strike="noStrike" kern="1200">
                          <a:solidFill>
                            <a:srgbClr val="1F4E79"/>
                          </a:solidFill>
                          <a:effectLst/>
                          <a:latin typeface="gobCL" pitchFamily="50" charset="0"/>
                          <a:ea typeface="+mn-ea"/>
                          <a:cs typeface="+mn-cs"/>
                        </a:rPr>
                        <a:t>1.193.781</a:t>
                      </a:r>
                    </a:p>
                  </a:txBody>
                  <a:tcPr marL="0" marR="0" marT="0" marB="0" anchor="ctr">
                    <a:noFill/>
                  </a:tcPr>
                </a:tc>
                <a:tc>
                  <a:txBody>
                    <a:bodyPr/>
                    <a:lstStyle/>
                    <a:p>
                      <a:pPr algn="r" fontAlgn="ctr"/>
                      <a:r>
                        <a:rPr lang="es-CL" sz="1200" b="1" u="none" strike="noStrike" kern="1200">
                          <a:solidFill>
                            <a:srgbClr val="1F4E79"/>
                          </a:solidFill>
                          <a:effectLst/>
                          <a:latin typeface="gobCL" pitchFamily="50" charset="0"/>
                          <a:ea typeface="+mn-ea"/>
                          <a:cs typeface="+mn-cs"/>
                        </a:rPr>
                        <a:t>1.378.741</a:t>
                      </a:r>
                    </a:p>
                  </a:txBody>
                  <a:tcPr marL="0" marR="0" marT="0" marB="0" anchor="ctr">
                    <a:noFill/>
                  </a:tcPr>
                </a:tc>
                <a:tc>
                  <a:txBody>
                    <a:bodyPr/>
                    <a:lstStyle/>
                    <a:p>
                      <a:pPr algn="r" fontAlgn="ctr"/>
                      <a:r>
                        <a:rPr lang="es-CL" sz="1200" b="1" u="none" strike="noStrike" kern="1200">
                          <a:solidFill>
                            <a:srgbClr val="1F4E79"/>
                          </a:solidFill>
                          <a:effectLst/>
                          <a:latin typeface="gobCL" pitchFamily="50" charset="0"/>
                          <a:ea typeface="+mn-ea"/>
                          <a:cs typeface="+mn-cs"/>
                        </a:rPr>
                        <a:t>1.086.717</a:t>
                      </a:r>
                    </a:p>
                  </a:txBody>
                  <a:tcPr marL="0" marR="0" marT="0" marB="0" anchor="ctr">
                    <a:noFill/>
                  </a:tcPr>
                </a:tc>
                <a:extLst>
                  <a:ext uri="{0D108BD9-81ED-4DB2-BD59-A6C34878D82A}">
                    <a16:rowId xmlns:a16="http://schemas.microsoft.com/office/drawing/2014/main" val="2802992290"/>
                  </a:ext>
                </a:extLst>
              </a:tr>
            </a:tbl>
          </a:graphicData>
        </a:graphic>
      </p:graphicFrame>
      <p:graphicFrame>
        <p:nvGraphicFramePr>
          <p:cNvPr id="6" name="Tabla 5">
            <a:extLst>
              <a:ext uri="{FF2B5EF4-FFF2-40B4-BE49-F238E27FC236}">
                <a16:creationId xmlns:a16="http://schemas.microsoft.com/office/drawing/2014/main" id="{E0F41273-9EF2-3555-7EA8-82BBDF26744C}"/>
              </a:ext>
            </a:extLst>
          </p:cNvPr>
          <p:cNvGraphicFramePr>
            <a:graphicFrameLocks noGrp="1"/>
          </p:cNvGraphicFramePr>
          <p:nvPr>
            <p:extLst>
              <p:ext uri="{D42A27DB-BD31-4B8C-83A1-F6EECF244321}">
                <p14:modId xmlns:p14="http://schemas.microsoft.com/office/powerpoint/2010/main" val="3182031014"/>
              </p:ext>
            </p:extLst>
          </p:nvPr>
        </p:nvGraphicFramePr>
        <p:xfrm>
          <a:off x="5295899" y="3260922"/>
          <a:ext cx="5562601" cy="1540487"/>
        </p:xfrm>
        <a:graphic>
          <a:graphicData uri="http://schemas.openxmlformats.org/drawingml/2006/table">
            <a:tbl>
              <a:tblPr>
                <a:tableStyleId>{2D5ABB26-0587-4C30-8999-92F81FD0307C}</a:tableStyleId>
              </a:tblPr>
              <a:tblGrid>
                <a:gridCol w="3060700">
                  <a:extLst>
                    <a:ext uri="{9D8B030D-6E8A-4147-A177-3AD203B41FA5}">
                      <a16:colId xmlns:a16="http://schemas.microsoft.com/office/drawing/2014/main" val="606678842"/>
                    </a:ext>
                  </a:extLst>
                </a:gridCol>
                <a:gridCol w="660400">
                  <a:extLst>
                    <a:ext uri="{9D8B030D-6E8A-4147-A177-3AD203B41FA5}">
                      <a16:colId xmlns:a16="http://schemas.microsoft.com/office/drawing/2014/main" val="1221574371"/>
                    </a:ext>
                  </a:extLst>
                </a:gridCol>
                <a:gridCol w="571500">
                  <a:extLst>
                    <a:ext uri="{9D8B030D-6E8A-4147-A177-3AD203B41FA5}">
                      <a16:colId xmlns:a16="http://schemas.microsoft.com/office/drawing/2014/main" val="2600019557"/>
                    </a:ext>
                  </a:extLst>
                </a:gridCol>
                <a:gridCol w="584200">
                  <a:extLst>
                    <a:ext uri="{9D8B030D-6E8A-4147-A177-3AD203B41FA5}">
                      <a16:colId xmlns:a16="http://schemas.microsoft.com/office/drawing/2014/main" val="4126138483"/>
                    </a:ext>
                  </a:extLst>
                </a:gridCol>
                <a:gridCol w="685801">
                  <a:extLst>
                    <a:ext uri="{9D8B030D-6E8A-4147-A177-3AD203B41FA5}">
                      <a16:colId xmlns:a16="http://schemas.microsoft.com/office/drawing/2014/main" val="2394943746"/>
                    </a:ext>
                  </a:extLst>
                </a:gridCol>
              </a:tblGrid>
              <a:tr h="231578">
                <a:tc>
                  <a:txBody>
                    <a:bodyPr/>
                    <a:lstStyle/>
                    <a:p>
                      <a:pPr algn="l" fontAlgn="ctr"/>
                      <a:r>
                        <a:rPr lang="es-ES" sz="1200" b="1" u="none" strike="noStrike" kern="1200">
                          <a:solidFill>
                            <a:schemeClr val="bg1"/>
                          </a:solidFill>
                          <a:effectLst/>
                          <a:latin typeface="gobCL" pitchFamily="50" charset="0"/>
                          <a:ea typeface="+mn-ea"/>
                          <a:cs typeface="+mn-cs"/>
                        </a:rPr>
                        <a:t>COSTO FISCAL AÑO</a:t>
                      </a:r>
                    </a:p>
                  </a:txBody>
                  <a:tcPr marL="0" marR="0" marT="0" marB="0" anchor="ctr">
                    <a:solidFill>
                      <a:srgbClr val="1F4E79"/>
                    </a:solidFill>
                  </a:tcPr>
                </a:tc>
                <a:tc>
                  <a:txBody>
                    <a:bodyPr/>
                    <a:lstStyle/>
                    <a:p>
                      <a:pPr algn="ctr" fontAlgn="ctr"/>
                      <a:r>
                        <a:rPr lang="es-ES" sz="1200" b="1" u="none" strike="noStrike" kern="1200">
                          <a:solidFill>
                            <a:schemeClr val="bg1"/>
                          </a:solidFill>
                          <a:effectLst/>
                          <a:latin typeface="gobCL" pitchFamily="50" charset="0"/>
                          <a:ea typeface="+mn-ea"/>
                          <a:cs typeface="+mn-cs"/>
                        </a:rPr>
                        <a:t>2024</a:t>
                      </a:r>
                    </a:p>
                  </a:txBody>
                  <a:tcPr marL="0" marR="0" marT="0" marB="0" anchor="ctr">
                    <a:solidFill>
                      <a:srgbClr val="1F4E79"/>
                    </a:solidFill>
                  </a:tcPr>
                </a:tc>
                <a:tc>
                  <a:txBody>
                    <a:bodyPr/>
                    <a:lstStyle/>
                    <a:p>
                      <a:pPr algn="ctr" fontAlgn="ctr"/>
                      <a:r>
                        <a:rPr lang="es-ES" sz="1200" b="1" u="none" strike="noStrike" kern="1200">
                          <a:solidFill>
                            <a:schemeClr val="bg1"/>
                          </a:solidFill>
                          <a:effectLst/>
                          <a:latin typeface="gobCL" pitchFamily="50" charset="0"/>
                          <a:ea typeface="+mn-ea"/>
                          <a:cs typeface="+mn-cs"/>
                        </a:rPr>
                        <a:t>2025</a:t>
                      </a:r>
                    </a:p>
                  </a:txBody>
                  <a:tcPr marL="0" marR="0" marT="0" marB="0" anchor="ctr">
                    <a:solidFill>
                      <a:srgbClr val="1F4E79"/>
                    </a:solidFill>
                  </a:tcPr>
                </a:tc>
                <a:tc>
                  <a:txBody>
                    <a:bodyPr/>
                    <a:lstStyle/>
                    <a:p>
                      <a:pPr algn="ctr" fontAlgn="ctr"/>
                      <a:r>
                        <a:rPr lang="es-ES" sz="1200" b="1" u="none" strike="noStrike" kern="1200">
                          <a:solidFill>
                            <a:schemeClr val="bg1"/>
                          </a:solidFill>
                          <a:effectLst/>
                          <a:latin typeface="gobCL" pitchFamily="50" charset="0"/>
                          <a:ea typeface="+mn-ea"/>
                          <a:cs typeface="+mn-cs"/>
                        </a:rPr>
                        <a:t>2026</a:t>
                      </a:r>
                    </a:p>
                  </a:txBody>
                  <a:tcPr marL="0" marR="0" marT="0" marB="0" anchor="ctr">
                    <a:solidFill>
                      <a:srgbClr val="1F4E79"/>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s-ES" sz="1200" b="1" u="none" strike="noStrike" kern="1200">
                          <a:solidFill>
                            <a:schemeClr val="bg1"/>
                          </a:solidFill>
                          <a:effectLst/>
                          <a:latin typeface="gobCL" pitchFamily="50" charset="0"/>
                          <a:ea typeface="+mn-ea"/>
                          <a:cs typeface="+mn-cs"/>
                        </a:rPr>
                        <a:t>RÉGIMEN</a:t>
                      </a:r>
                    </a:p>
                  </a:txBody>
                  <a:tcPr marL="0" marR="0" marT="0" marB="0" anchor="ctr">
                    <a:solidFill>
                      <a:srgbClr val="1F4E79"/>
                    </a:solidFill>
                  </a:tcPr>
                </a:tc>
                <a:extLst>
                  <a:ext uri="{0D108BD9-81ED-4DB2-BD59-A6C34878D82A}">
                    <a16:rowId xmlns:a16="http://schemas.microsoft.com/office/drawing/2014/main" val="1120598268"/>
                  </a:ext>
                </a:extLst>
              </a:tr>
              <a:tr h="188769">
                <a:tc>
                  <a:txBody>
                    <a:bodyPr/>
                    <a:lstStyle/>
                    <a:p>
                      <a:pPr algn="l" fontAlgn="ctr"/>
                      <a:r>
                        <a:rPr lang="es-CL" sz="1100" b="1" u="none" strike="noStrike" kern="1200">
                          <a:solidFill>
                            <a:srgbClr val="1F4E79"/>
                          </a:solidFill>
                          <a:effectLst/>
                          <a:latin typeface="gobCL" pitchFamily="50" charset="0"/>
                          <a:ea typeface="+mn-ea"/>
                          <a:cs typeface="+mn-cs"/>
                        </a:rPr>
                        <a:t>Materias adicionales</a:t>
                      </a:r>
                    </a:p>
                  </a:txBody>
                  <a:tcPr marL="0" marR="0" marT="0" marB="0" anchor="ctr"/>
                </a:tc>
                <a:tc>
                  <a:txBody>
                    <a:bodyPr/>
                    <a:lstStyle/>
                    <a:p>
                      <a:pPr marL="0" algn="ctr" defTabSz="914400" rtl="0" eaLnBrk="1" fontAlgn="ctr" latinLnBrk="0" hangingPunct="1"/>
                      <a:r>
                        <a:rPr lang="es-CL" sz="1100" b="1" u="none" strike="noStrike" kern="1200">
                          <a:solidFill>
                            <a:srgbClr val="1F4E79"/>
                          </a:solidFill>
                          <a:effectLst/>
                          <a:latin typeface="gobCL" pitchFamily="50" charset="0"/>
                          <a:ea typeface="+mn-ea"/>
                          <a:cs typeface="+mn-cs"/>
                        </a:rPr>
                        <a:t>8.488</a:t>
                      </a:r>
                    </a:p>
                  </a:txBody>
                  <a:tcPr marL="0" marR="0" marT="0" marB="0" anchor="ctr"/>
                </a:tc>
                <a:tc>
                  <a:txBody>
                    <a:bodyPr/>
                    <a:lstStyle/>
                    <a:p>
                      <a:pPr marL="0" algn="ctr" defTabSz="914400" rtl="0" eaLnBrk="1" fontAlgn="ctr" latinLnBrk="0" hangingPunct="1"/>
                      <a:r>
                        <a:rPr lang="es-CL" sz="1100" b="1" u="none" strike="noStrike" kern="1200">
                          <a:solidFill>
                            <a:srgbClr val="1F4E79"/>
                          </a:solidFill>
                          <a:effectLst/>
                          <a:latin typeface="gobCL" pitchFamily="50" charset="0"/>
                          <a:ea typeface="+mn-ea"/>
                          <a:cs typeface="+mn-cs"/>
                        </a:rPr>
                        <a:t>11.265</a:t>
                      </a:r>
                    </a:p>
                  </a:txBody>
                  <a:tcPr marL="0" marR="0" marT="0" marB="0" anchor="ctr"/>
                </a:tc>
                <a:tc>
                  <a:txBody>
                    <a:bodyPr/>
                    <a:lstStyle/>
                    <a:p>
                      <a:pPr marL="0" algn="ctr" defTabSz="914400" rtl="0" eaLnBrk="1" fontAlgn="ctr" latinLnBrk="0" hangingPunct="1"/>
                      <a:r>
                        <a:rPr lang="es-CL" sz="1100" b="1" u="none" strike="noStrike" kern="1200">
                          <a:solidFill>
                            <a:srgbClr val="1F4E79"/>
                          </a:solidFill>
                          <a:effectLst/>
                          <a:latin typeface="gobCL" pitchFamily="50" charset="0"/>
                          <a:ea typeface="+mn-ea"/>
                          <a:cs typeface="+mn-cs"/>
                        </a:rPr>
                        <a:t>7.929</a:t>
                      </a:r>
                    </a:p>
                  </a:txBody>
                  <a:tcPr marL="0" marR="0" marT="0" marB="0" anchor="ctr"/>
                </a:tc>
                <a:tc>
                  <a:txBody>
                    <a:bodyPr/>
                    <a:lstStyle/>
                    <a:p>
                      <a:pPr marL="0" algn="ctr" defTabSz="914400" rtl="0" eaLnBrk="1" fontAlgn="ctr" latinLnBrk="0" hangingPunct="1"/>
                      <a:r>
                        <a:rPr lang="es-CL" sz="1100" b="1" u="none" strike="noStrike" kern="1200">
                          <a:solidFill>
                            <a:srgbClr val="1F4E79"/>
                          </a:solidFill>
                          <a:effectLst/>
                          <a:latin typeface="gobCL" pitchFamily="50" charset="0"/>
                          <a:ea typeface="+mn-ea"/>
                          <a:cs typeface="+mn-cs"/>
                        </a:rPr>
                        <a:t>7.929</a:t>
                      </a:r>
                    </a:p>
                  </a:txBody>
                  <a:tcPr marL="0" marR="0" marT="0" marB="0" anchor="ctr"/>
                </a:tc>
                <a:extLst>
                  <a:ext uri="{0D108BD9-81ED-4DB2-BD59-A6C34878D82A}">
                    <a16:rowId xmlns:a16="http://schemas.microsoft.com/office/drawing/2014/main" val="2438857758"/>
                  </a:ext>
                </a:extLst>
              </a:tr>
              <a:tr h="0">
                <a:tc>
                  <a:txBody>
                    <a:bodyPr/>
                    <a:lstStyle/>
                    <a:p>
                      <a:pPr algn="l" fontAlgn="ctr"/>
                      <a:r>
                        <a:rPr lang="es-ES" sz="1050" b="0" i="1" u="none" strike="noStrike" kern="1200">
                          <a:solidFill>
                            <a:srgbClr val="1F4E79"/>
                          </a:solidFill>
                          <a:effectLst/>
                          <a:latin typeface="gobCL" pitchFamily="50" charset="0"/>
                          <a:ea typeface="+mn-ea"/>
                          <a:cs typeface="+mn-cs"/>
                        </a:rPr>
                        <a:t>Modificación de las plantas de Gendarmería</a:t>
                      </a:r>
                    </a:p>
                  </a:txBody>
                  <a:tcPr marL="0" marR="0" marT="0" marB="0" anchor="ctr"/>
                </a:tc>
                <a:tc>
                  <a:txBody>
                    <a:bodyPr/>
                    <a:lstStyle/>
                    <a:p>
                      <a:pPr marL="0" algn="ctr" defTabSz="914400" rtl="0" eaLnBrk="1" fontAlgn="ctr" latinLnBrk="0" hangingPunct="1"/>
                      <a:r>
                        <a:rPr lang="es-CL" sz="1050" b="0" i="1" u="none" strike="noStrike" kern="1200">
                          <a:solidFill>
                            <a:srgbClr val="1F4E79"/>
                          </a:solidFill>
                          <a:effectLst/>
                          <a:latin typeface="gobCL" pitchFamily="50" charset="0"/>
                          <a:ea typeface="+mn-ea"/>
                          <a:cs typeface="+mn-cs"/>
                        </a:rPr>
                        <a:t>3.046</a:t>
                      </a:r>
                    </a:p>
                  </a:txBody>
                  <a:tcPr marL="0" marR="0" marT="0" marB="0" anchor="ctr"/>
                </a:tc>
                <a:tc>
                  <a:txBody>
                    <a:bodyPr/>
                    <a:lstStyle/>
                    <a:p>
                      <a:pPr marL="0" algn="ctr" defTabSz="914400" rtl="0" eaLnBrk="1" fontAlgn="ctr" latinLnBrk="0" hangingPunct="1"/>
                      <a:r>
                        <a:rPr lang="es-CL" sz="1050" b="0" i="1" u="none" strike="noStrike" kern="1200">
                          <a:solidFill>
                            <a:srgbClr val="1F4E79"/>
                          </a:solidFill>
                          <a:effectLst/>
                          <a:latin typeface="gobCL" pitchFamily="50" charset="0"/>
                          <a:ea typeface="+mn-ea"/>
                          <a:cs typeface="+mn-cs"/>
                        </a:rPr>
                        <a:t>3.969</a:t>
                      </a:r>
                    </a:p>
                  </a:txBody>
                  <a:tcPr marL="0" marR="0" marT="0" marB="0" anchor="ctr"/>
                </a:tc>
                <a:tc>
                  <a:txBody>
                    <a:bodyPr/>
                    <a:lstStyle/>
                    <a:p>
                      <a:pPr marL="0" algn="ctr" defTabSz="914400" rtl="0" eaLnBrk="1" fontAlgn="ctr" latinLnBrk="0" hangingPunct="1"/>
                      <a:r>
                        <a:rPr lang="es-CL" sz="1050" b="0" i="1" u="none" strike="noStrike" kern="1200">
                          <a:solidFill>
                            <a:srgbClr val="1F4E79"/>
                          </a:solidFill>
                          <a:effectLst/>
                          <a:latin typeface="gobCL" pitchFamily="50" charset="0"/>
                          <a:ea typeface="+mn-ea"/>
                          <a:cs typeface="+mn-cs"/>
                        </a:rPr>
                        <a:t>5.276</a:t>
                      </a:r>
                    </a:p>
                  </a:txBody>
                  <a:tcPr marL="0" marR="0" marT="0" marB="0" anchor="ctr"/>
                </a:tc>
                <a:tc>
                  <a:txBody>
                    <a:bodyPr/>
                    <a:lstStyle/>
                    <a:p>
                      <a:pPr marL="0" algn="ctr" defTabSz="914400" rtl="0" eaLnBrk="1" fontAlgn="ctr" latinLnBrk="0" hangingPunct="1"/>
                      <a:r>
                        <a:rPr lang="es-CL" sz="1050" b="0" i="1" u="none" strike="noStrike" kern="1200">
                          <a:solidFill>
                            <a:srgbClr val="1F4E79"/>
                          </a:solidFill>
                          <a:effectLst/>
                          <a:latin typeface="gobCL" pitchFamily="50" charset="0"/>
                          <a:ea typeface="+mn-ea"/>
                          <a:cs typeface="+mn-cs"/>
                        </a:rPr>
                        <a:t>5.276</a:t>
                      </a:r>
                    </a:p>
                  </a:txBody>
                  <a:tcPr marL="0" marR="0" marT="0" marB="0" anchor="ctr"/>
                </a:tc>
                <a:extLst>
                  <a:ext uri="{0D108BD9-81ED-4DB2-BD59-A6C34878D82A}">
                    <a16:rowId xmlns:a16="http://schemas.microsoft.com/office/drawing/2014/main" val="936477911"/>
                  </a:ext>
                </a:extLst>
              </a:tr>
              <a:tr h="0">
                <a:tc>
                  <a:txBody>
                    <a:bodyPr/>
                    <a:lstStyle/>
                    <a:p>
                      <a:pPr algn="l" fontAlgn="ctr"/>
                      <a:r>
                        <a:rPr lang="es-ES" sz="1050" b="0" i="1" u="none" strike="noStrike" kern="1200">
                          <a:solidFill>
                            <a:srgbClr val="1F4E79"/>
                          </a:solidFill>
                          <a:effectLst/>
                          <a:latin typeface="gobCL" pitchFamily="50" charset="0"/>
                          <a:ea typeface="+mn-ea"/>
                          <a:cs typeface="+mn-cs"/>
                        </a:rPr>
                        <a:t>Bono especial BDL en VTF (2016 - 2019)</a:t>
                      </a:r>
                    </a:p>
                  </a:txBody>
                  <a:tcPr marL="0" marR="0" marT="0" marB="0" anchor="ctr">
                    <a:solidFill>
                      <a:schemeClr val="bg1"/>
                    </a:solidFill>
                  </a:tcPr>
                </a:tc>
                <a:tc>
                  <a:txBody>
                    <a:bodyPr/>
                    <a:lstStyle/>
                    <a:p>
                      <a:pPr marL="0" algn="ctr" defTabSz="914400" rtl="0" eaLnBrk="1" fontAlgn="ctr" latinLnBrk="0" hangingPunct="1"/>
                      <a:r>
                        <a:rPr lang="es-CL" sz="1050" b="0" i="1" u="none" strike="noStrike" kern="1200">
                          <a:solidFill>
                            <a:srgbClr val="1F4E79"/>
                          </a:solidFill>
                          <a:effectLst/>
                          <a:latin typeface="gobCL" pitchFamily="50" charset="0"/>
                          <a:ea typeface="+mn-ea"/>
                          <a:cs typeface="+mn-cs"/>
                        </a:rPr>
                        <a:t>4.183</a:t>
                      </a:r>
                    </a:p>
                  </a:txBody>
                  <a:tcPr marL="0" marR="0" marT="0" marB="0" anchor="ctr">
                    <a:solidFill>
                      <a:schemeClr val="bg1"/>
                    </a:solidFill>
                  </a:tcPr>
                </a:tc>
                <a:tc>
                  <a:txBody>
                    <a:bodyPr/>
                    <a:lstStyle/>
                    <a:p>
                      <a:pPr marL="0" algn="ctr" defTabSz="914400" rtl="0" eaLnBrk="1" fontAlgn="ctr" latinLnBrk="0" hangingPunct="1"/>
                      <a:r>
                        <a:rPr lang="es-CL" sz="1050" b="0" i="1" u="none" strike="noStrike" kern="1200">
                          <a:solidFill>
                            <a:srgbClr val="1F4E79"/>
                          </a:solidFill>
                          <a:effectLst/>
                          <a:latin typeface="gobCL" pitchFamily="50" charset="0"/>
                          <a:ea typeface="+mn-ea"/>
                          <a:cs typeface="+mn-cs"/>
                        </a:rPr>
                        <a:t>4.643</a:t>
                      </a:r>
                    </a:p>
                  </a:txBody>
                  <a:tcPr marL="0" marR="0" marT="0" marB="0" anchor="ctr">
                    <a:solidFill>
                      <a:schemeClr val="bg1"/>
                    </a:solidFill>
                  </a:tcPr>
                </a:tc>
                <a:tc>
                  <a:txBody>
                    <a:bodyPr/>
                    <a:lstStyle/>
                    <a:p>
                      <a:pPr marL="0" algn="ctr" defTabSz="914400" rtl="0" eaLnBrk="1" fontAlgn="ctr" latinLnBrk="0" hangingPunct="1"/>
                      <a:r>
                        <a:rPr lang="es-CL" sz="1050" b="0" i="1" u="none" strike="noStrike" kern="1200">
                          <a:solidFill>
                            <a:srgbClr val="1F4E79"/>
                          </a:solidFill>
                          <a:effectLst/>
                          <a:latin typeface="gobCL" pitchFamily="50" charset="0"/>
                          <a:ea typeface="+mn-ea"/>
                          <a:cs typeface="+mn-cs"/>
                        </a:rPr>
                        <a:t>0</a:t>
                      </a:r>
                    </a:p>
                  </a:txBody>
                  <a:tcPr marL="0" marR="0" marT="0" marB="0" anchor="ctr">
                    <a:solidFill>
                      <a:schemeClr val="bg1"/>
                    </a:solidFill>
                  </a:tcPr>
                </a:tc>
                <a:tc>
                  <a:txBody>
                    <a:bodyPr/>
                    <a:lstStyle/>
                    <a:p>
                      <a:pPr marL="0" algn="ctr" defTabSz="914400" rtl="0" eaLnBrk="1" fontAlgn="ctr" latinLnBrk="0" hangingPunct="1"/>
                      <a:r>
                        <a:rPr lang="es-CL" sz="1050" b="0" i="1" u="none" strike="noStrike" kern="1200">
                          <a:solidFill>
                            <a:srgbClr val="1F4E79"/>
                          </a:solidFill>
                          <a:effectLst/>
                          <a:latin typeface="gobCL" pitchFamily="50" charset="0"/>
                          <a:ea typeface="+mn-ea"/>
                          <a:cs typeface="+mn-cs"/>
                        </a:rPr>
                        <a:t>0</a:t>
                      </a:r>
                    </a:p>
                  </a:txBody>
                  <a:tcPr marL="0" marR="0" marT="0" marB="0" anchor="ctr">
                    <a:solidFill>
                      <a:schemeClr val="bg1"/>
                    </a:solidFill>
                  </a:tcPr>
                </a:tc>
                <a:extLst>
                  <a:ext uri="{0D108BD9-81ED-4DB2-BD59-A6C34878D82A}">
                    <a16:rowId xmlns:a16="http://schemas.microsoft.com/office/drawing/2014/main" val="3019193479"/>
                  </a:ext>
                </a:extLst>
              </a:tr>
              <a:tr h="0">
                <a:tc>
                  <a:txBody>
                    <a:bodyPr/>
                    <a:lstStyle/>
                    <a:p>
                      <a:pPr algn="l" fontAlgn="ctr"/>
                      <a:r>
                        <a:rPr lang="es-ES" sz="1050" b="0" i="1" u="none" strike="noStrike" kern="1200">
                          <a:solidFill>
                            <a:srgbClr val="1F4E79"/>
                          </a:solidFill>
                          <a:effectLst/>
                          <a:latin typeface="gobCL" pitchFamily="50" charset="0"/>
                          <a:ea typeface="+mn-ea"/>
                          <a:cs typeface="+mn-cs"/>
                        </a:rPr>
                        <a:t>Homologar grados de los ministros del Tribunal Constitucional, a la remuneración de los ministros </a:t>
                      </a:r>
                    </a:p>
                    <a:p>
                      <a:pPr algn="l" fontAlgn="ctr"/>
                      <a:r>
                        <a:rPr lang="es-ES" sz="1050" b="0" i="1" u="none" strike="noStrike" kern="1200">
                          <a:solidFill>
                            <a:srgbClr val="1F4E79"/>
                          </a:solidFill>
                          <a:effectLst/>
                          <a:latin typeface="gobCL" pitchFamily="50" charset="0"/>
                          <a:ea typeface="+mn-ea"/>
                          <a:cs typeface="+mn-cs"/>
                        </a:rPr>
                        <a:t>de la CS</a:t>
                      </a:r>
                    </a:p>
                  </a:txBody>
                  <a:tcPr marL="0" marR="0" marT="0" marB="0" anchor="ctr"/>
                </a:tc>
                <a:tc>
                  <a:txBody>
                    <a:bodyPr/>
                    <a:lstStyle/>
                    <a:p>
                      <a:pPr marL="0" algn="ctr" defTabSz="914400" rtl="0" eaLnBrk="1" fontAlgn="ctr" latinLnBrk="0" hangingPunct="1"/>
                      <a:r>
                        <a:rPr lang="es-CL" sz="1050" b="0" i="1" u="none" strike="noStrike" kern="1200">
                          <a:solidFill>
                            <a:srgbClr val="1F4E79"/>
                          </a:solidFill>
                          <a:effectLst/>
                          <a:latin typeface="gobCL" pitchFamily="50" charset="0"/>
                          <a:ea typeface="+mn-ea"/>
                          <a:cs typeface="+mn-cs"/>
                        </a:rPr>
                        <a:t>330</a:t>
                      </a:r>
                    </a:p>
                  </a:txBody>
                  <a:tcPr marL="0" marR="0" marT="0" marB="0" anchor="ctr"/>
                </a:tc>
                <a:tc>
                  <a:txBody>
                    <a:bodyPr/>
                    <a:lstStyle/>
                    <a:p>
                      <a:pPr marL="0" algn="ctr" defTabSz="914400" rtl="0" eaLnBrk="1" fontAlgn="ctr" latinLnBrk="0" hangingPunct="1"/>
                      <a:r>
                        <a:rPr lang="es-CL" sz="1050" b="0" i="1" u="none" strike="noStrike" kern="1200">
                          <a:solidFill>
                            <a:srgbClr val="1F4E79"/>
                          </a:solidFill>
                          <a:effectLst/>
                          <a:latin typeface="gobCL" pitchFamily="50" charset="0"/>
                          <a:ea typeface="+mn-ea"/>
                          <a:cs typeface="+mn-cs"/>
                        </a:rPr>
                        <a:t>330</a:t>
                      </a:r>
                    </a:p>
                  </a:txBody>
                  <a:tcPr marL="0" marR="0" marT="0" marB="0" anchor="ctr"/>
                </a:tc>
                <a:tc>
                  <a:txBody>
                    <a:bodyPr/>
                    <a:lstStyle/>
                    <a:p>
                      <a:pPr marL="0" algn="ctr" defTabSz="914400" rtl="0" eaLnBrk="1" fontAlgn="ctr" latinLnBrk="0" hangingPunct="1"/>
                      <a:r>
                        <a:rPr lang="es-CL" sz="1050" b="0" i="1" u="none" strike="noStrike" kern="1200">
                          <a:solidFill>
                            <a:srgbClr val="1F4E79"/>
                          </a:solidFill>
                          <a:effectLst/>
                          <a:latin typeface="gobCL" pitchFamily="50" charset="0"/>
                          <a:ea typeface="+mn-ea"/>
                          <a:cs typeface="+mn-cs"/>
                        </a:rPr>
                        <a:t>330</a:t>
                      </a:r>
                    </a:p>
                  </a:txBody>
                  <a:tcPr marL="0" marR="0" marT="0" marB="0" anchor="ctr"/>
                </a:tc>
                <a:tc>
                  <a:txBody>
                    <a:bodyPr/>
                    <a:lstStyle/>
                    <a:p>
                      <a:pPr marL="0" algn="ctr" defTabSz="914400" rtl="0" eaLnBrk="1" fontAlgn="ctr" latinLnBrk="0" hangingPunct="1"/>
                      <a:r>
                        <a:rPr lang="es-CL" sz="1050" b="0" i="1" u="none" strike="noStrike" kern="1200">
                          <a:solidFill>
                            <a:srgbClr val="1F4E79"/>
                          </a:solidFill>
                          <a:effectLst/>
                          <a:latin typeface="gobCL" pitchFamily="50" charset="0"/>
                          <a:ea typeface="+mn-ea"/>
                          <a:cs typeface="+mn-cs"/>
                        </a:rPr>
                        <a:t>330</a:t>
                      </a:r>
                    </a:p>
                  </a:txBody>
                  <a:tcPr marL="0" marR="0" marT="0" marB="0" anchor="ctr"/>
                </a:tc>
                <a:extLst>
                  <a:ext uri="{0D108BD9-81ED-4DB2-BD59-A6C34878D82A}">
                    <a16:rowId xmlns:a16="http://schemas.microsoft.com/office/drawing/2014/main" val="1788102713"/>
                  </a:ext>
                </a:extLst>
              </a:tr>
              <a:tr h="0">
                <a:tc>
                  <a:txBody>
                    <a:bodyPr/>
                    <a:lstStyle/>
                    <a:p>
                      <a:pPr algn="l" fontAlgn="ctr"/>
                      <a:r>
                        <a:rPr lang="es-ES" sz="1050" b="0" i="1" u="none" strike="noStrike" kern="1200">
                          <a:solidFill>
                            <a:srgbClr val="1F4E79"/>
                          </a:solidFill>
                          <a:effectLst/>
                          <a:latin typeface="gobCL" pitchFamily="50" charset="0"/>
                          <a:ea typeface="+mn-ea"/>
                          <a:cs typeface="+mn-cs"/>
                        </a:rPr>
                        <a:t>Incremento progresivo de la asignación de estímulo fito y zoosanitario del SAG</a:t>
                      </a:r>
                    </a:p>
                  </a:txBody>
                  <a:tcPr marL="0" marR="0" marT="0" marB="0" anchor="ctr"/>
                </a:tc>
                <a:tc>
                  <a:txBody>
                    <a:bodyPr/>
                    <a:lstStyle/>
                    <a:p>
                      <a:pPr marL="0" algn="ctr" defTabSz="914400" rtl="0" eaLnBrk="1" fontAlgn="ctr" latinLnBrk="0" hangingPunct="1"/>
                      <a:r>
                        <a:rPr lang="es-CL" sz="1050" b="0" i="1" u="none" strike="noStrike" kern="1200">
                          <a:solidFill>
                            <a:srgbClr val="1F4E79"/>
                          </a:solidFill>
                          <a:effectLst/>
                          <a:latin typeface="gobCL" pitchFamily="50" charset="0"/>
                          <a:ea typeface="+mn-ea"/>
                          <a:cs typeface="+mn-cs"/>
                        </a:rPr>
                        <a:t>929</a:t>
                      </a:r>
                    </a:p>
                  </a:txBody>
                  <a:tcPr marL="0" marR="0" marT="0" marB="0" anchor="ctr"/>
                </a:tc>
                <a:tc>
                  <a:txBody>
                    <a:bodyPr/>
                    <a:lstStyle/>
                    <a:p>
                      <a:pPr marL="0" algn="ctr" defTabSz="914400" rtl="0" eaLnBrk="1" fontAlgn="ctr" latinLnBrk="0" hangingPunct="1"/>
                      <a:r>
                        <a:rPr lang="es-CL" sz="1050" b="0" i="1" u="none" strike="noStrike" kern="1200">
                          <a:solidFill>
                            <a:srgbClr val="1F4E79"/>
                          </a:solidFill>
                          <a:effectLst/>
                          <a:latin typeface="gobCL" pitchFamily="50" charset="0"/>
                          <a:ea typeface="+mn-ea"/>
                          <a:cs typeface="+mn-cs"/>
                        </a:rPr>
                        <a:t>2.323</a:t>
                      </a:r>
                    </a:p>
                  </a:txBody>
                  <a:tcPr marL="0" marR="0" marT="0" marB="0" anchor="ctr"/>
                </a:tc>
                <a:tc>
                  <a:txBody>
                    <a:bodyPr/>
                    <a:lstStyle/>
                    <a:p>
                      <a:pPr marL="0" algn="ctr" defTabSz="914400" rtl="0" eaLnBrk="1" fontAlgn="ctr" latinLnBrk="0" hangingPunct="1"/>
                      <a:r>
                        <a:rPr lang="es-CL" sz="1050" b="0" i="1" u="none" strike="noStrike" kern="1200">
                          <a:solidFill>
                            <a:srgbClr val="1F4E79"/>
                          </a:solidFill>
                          <a:effectLst/>
                          <a:latin typeface="gobCL" pitchFamily="50" charset="0"/>
                          <a:ea typeface="+mn-ea"/>
                          <a:cs typeface="+mn-cs"/>
                        </a:rPr>
                        <a:t>2.323</a:t>
                      </a:r>
                    </a:p>
                  </a:txBody>
                  <a:tcPr marL="0" marR="0" marT="0" marB="0" anchor="ctr"/>
                </a:tc>
                <a:tc>
                  <a:txBody>
                    <a:bodyPr/>
                    <a:lstStyle/>
                    <a:p>
                      <a:pPr marL="0" algn="ctr" defTabSz="914400" rtl="0" eaLnBrk="1" fontAlgn="ctr" latinLnBrk="0" hangingPunct="1"/>
                      <a:r>
                        <a:rPr lang="es-CL" sz="1050" b="0" i="1" u="none" strike="noStrike" kern="1200">
                          <a:solidFill>
                            <a:srgbClr val="1F4E79"/>
                          </a:solidFill>
                          <a:effectLst/>
                          <a:latin typeface="gobCL" pitchFamily="50" charset="0"/>
                          <a:ea typeface="+mn-ea"/>
                          <a:cs typeface="+mn-cs"/>
                        </a:rPr>
                        <a:t>2.323</a:t>
                      </a:r>
                    </a:p>
                  </a:txBody>
                  <a:tcPr marL="0" marR="0" marT="0" marB="0" anchor="ctr"/>
                </a:tc>
                <a:extLst>
                  <a:ext uri="{0D108BD9-81ED-4DB2-BD59-A6C34878D82A}">
                    <a16:rowId xmlns:a16="http://schemas.microsoft.com/office/drawing/2014/main" val="1181309041"/>
                  </a:ext>
                </a:extLst>
              </a:tr>
            </a:tbl>
          </a:graphicData>
        </a:graphic>
      </p:graphicFrame>
      <p:sp>
        <p:nvSpPr>
          <p:cNvPr id="8" name="Shape 460">
            <a:extLst>
              <a:ext uri="{FF2B5EF4-FFF2-40B4-BE49-F238E27FC236}">
                <a16:creationId xmlns:a16="http://schemas.microsoft.com/office/drawing/2014/main" id="{C02F0DD7-4F64-486E-2C3A-D90FFB0F3A56}"/>
              </a:ext>
            </a:extLst>
          </p:cNvPr>
          <p:cNvSpPr/>
          <p:nvPr/>
        </p:nvSpPr>
        <p:spPr>
          <a:xfrm>
            <a:off x="573412" y="385319"/>
            <a:ext cx="8202288" cy="770381"/>
          </a:xfrm>
          <a:prstGeom prst="rect">
            <a:avLst/>
          </a:prstGeom>
          <a:extLst>
            <a:ext uri="{C572A759-6A51-4108-AA02-DFA0A04FC94B}">
              <ma14:wrappingTextBoxFlag xmlns:ma14="http://schemas.microsoft.com/office/mac/drawingml/2011/main" xmlns="" val="1"/>
            </a:ext>
          </a:extLst>
        </p:spPr>
        <p:txBody>
          <a:bodyPr vert="horz" lIns="91440" tIns="45720" rIns="91440" bIns="45720" rtlCol="0" anchor="t">
            <a:noAutofit/>
          </a:bodyPr>
          <a:lstStyle/>
          <a:p>
            <a:pPr>
              <a:lnSpc>
                <a:spcPct val="90000"/>
              </a:lnSpc>
              <a:spcBef>
                <a:spcPts val="1000"/>
              </a:spcBef>
            </a:pPr>
            <a:r>
              <a:rPr lang="es-CL" sz="2800" b="1">
                <a:solidFill>
                  <a:srgbClr val="1F4E79"/>
                </a:solidFill>
                <a:latin typeface="gobCL"/>
                <a:sym typeface="MyriadPro-SemiboldSemiCn"/>
              </a:rPr>
              <a:t>Informe Financiero</a:t>
            </a:r>
          </a:p>
          <a:p>
            <a:pPr>
              <a:lnSpc>
                <a:spcPct val="90000"/>
              </a:lnSpc>
              <a:spcBef>
                <a:spcPts val="600"/>
              </a:spcBef>
            </a:pPr>
            <a:r>
              <a:rPr lang="es-CL" sz="2000">
                <a:solidFill>
                  <a:srgbClr val="1F4E79"/>
                </a:solidFill>
                <a:latin typeface="gobCL"/>
                <a:sym typeface="MyriadPro-SemiboldSemiCn"/>
              </a:rPr>
              <a:t>Costo Fiscal (Millones de $)</a:t>
            </a:r>
            <a:endParaRPr lang="es-ES" sz="2000">
              <a:solidFill>
                <a:srgbClr val="1F4E79"/>
              </a:solidFill>
              <a:latin typeface="gobCL"/>
            </a:endParaRPr>
          </a:p>
        </p:txBody>
      </p:sp>
      <p:sp>
        <p:nvSpPr>
          <p:cNvPr id="10" name="Elipse 9">
            <a:extLst>
              <a:ext uri="{FF2B5EF4-FFF2-40B4-BE49-F238E27FC236}">
                <a16:creationId xmlns:a16="http://schemas.microsoft.com/office/drawing/2014/main" id="{39A76F1F-1CDE-7B19-124B-C744041E6016}"/>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1" name="Marcador de número de diapositiva 2">
            <a:extLst>
              <a:ext uri="{FF2B5EF4-FFF2-40B4-BE49-F238E27FC236}">
                <a16:creationId xmlns:a16="http://schemas.microsoft.com/office/drawing/2014/main" id="{370C570F-749D-7EE3-48B5-1574318C07DA}"/>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35</a:t>
            </a:fld>
            <a:endParaRPr lang="en-US" b="1">
              <a:solidFill>
                <a:schemeClr val="bg1"/>
              </a:solidFill>
              <a:latin typeface="Calibri"/>
              <a:ea typeface="ヒラギノ角ゴ Pro W3"/>
              <a:cs typeface="Calibri"/>
            </a:endParaRPr>
          </a:p>
        </p:txBody>
      </p:sp>
    </p:spTree>
    <p:extLst>
      <p:ext uri="{BB962C8B-B14F-4D97-AF65-F5344CB8AC3E}">
        <p14:creationId xmlns:p14="http://schemas.microsoft.com/office/powerpoint/2010/main" val="727067092"/>
      </p:ext>
    </p:extLst>
  </p:cSld>
  <p:clrMapOvr>
    <a:overrideClrMapping bg1="lt1" tx1="dk1" bg2="lt2" tx2="dk2" accent1="accent1" accent2="accent2" accent3="accent3" accent4="accent4" accent5="accent5" accent6="accent6" hlink="hlink" folHlink="folHlink"/>
  </p:clrMapOvr>
</p:sld>
</file>

<file path=ppt/slides/slide36.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821660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EC224294-9D2F-9B4C-ABA0-06869EDAB428}"/>
              </a:ext>
            </a:extLst>
          </p:cNvPr>
          <p:cNvSpPr>
            <a:spLocks noGrp="1"/>
          </p:cNvSpPr>
          <p:nvPr>
            <p:ph type="body" sz="quarter" idx="10"/>
          </p:nvPr>
        </p:nvSpPr>
        <p:spPr>
          <a:xfrm>
            <a:off x="1188624" y="3379376"/>
            <a:ext cx="8574502" cy="1952509"/>
          </a:xfrm>
        </p:spPr>
        <p:txBody>
          <a:bodyPr vert="horz" lIns="91440" tIns="45720" rIns="91440" bIns="45720" rtlCol="0" anchor="t">
            <a:noAutofit/>
          </a:bodyPr>
          <a:lstStyle/>
          <a:p>
            <a:pPr algn="l"/>
            <a:r>
              <a:rPr lang="es-CL" sz="4000">
                <a:solidFill>
                  <a:srgbClr val="1F4E79"/>
                </a:solidFill>
                <a:latin typeface="gobCL" pitchFamily="50" charset="0"/>
                <a:ea typeface="+mn-ea"/>
                <a:cs typeface="+mn-cs"/>
              </a:rPr>
              <a:t>Proyecto de ley Reajuste General de Remuneraciones, aguinaldos y otros beneficios que indica</a:t>
            </a:r>
            <a:endParaRPr lang="es-ES" sz="4000">
              <a:solidFill>
                <a:srgbClr val="1F4E79"/>
              </a:solidFill>
              <a:latin typeface="gobCL" pitchFamily="50" charset="0"/>
              <a:ea typeface="Verdana"/>
              <a:cs typeface="+mn-cs"/>
            </a:endParaRPr>
          </a:p>
        </p:txBody>
      </p:sp>
      <p:cxnSp>
        <p:nvCxnSpPr>
          <p:cNvPr id="7" name="Conector recto 6">
            <a:extLst>
              <a:ext uri="{FF2B5EF4-FFF2-40B4-BE49-F238E27FC236}">
                <a16:creationId xmlns:a16="http://schemas.microsoft.com/office/drawing/2014/main" id="{90B7E8E4-4862-46B3-A20B-DEE02261D4C8}"/>
              </a:ext>
            </a:extLst>
          </p:cNvPr>
          <p:cNvCxnSpPr>
            <a:cxnSpLocks/>
          </p:cNvCxnSpPr>
          <p:nvPr/>
        </p:nvCxnSpPr>
        <p:spPr>
          <a:xfrm>
            <a:off x="1275957" y="5051449"/>
            <a:ext cx="10306443" cy="0"/>
          </a:xfrm>
          <a:prstGeom prst="line">
            <a:avLst/>
          </a:prstGeom>
          <a:ln w="28575">
            <a:solidFill>
              <a:srgbClr val="2F5598"/>
            </a:solidFill>
          </a:ln>
        </p:spPr>
        <p:style>
          <a:lnRef idx="1">
            <a:schemeClr val="accent1"/>
          </a:lnRef>
          <a:fillRef idx="0">
            <a:schemeClr val="accent1"/>
          </a:fillRef>
          <a:effectRef idx="0">
            <a:schemeClr val="accent1"/>
          </a:effectRef>
          <a:fontRef idx="minor">
            <a:schemeClr val="tx1"/>
          </a:fontRef>
        </p:style>
      </p:cxnSp>
      <p:sp>
        <p:nvSpPr>
          <p:cNvPr id="8" name="CuadroTexto 7">
            <a:extLst>
              <a:ext uri="{FF2B5EF4-FFF2-40B4-BE49-F238E27FC236}">
                <a16:creationId xmlns:a16="http://schemas.microsoft.com/office/drawing/2014/main" id="{A8D67202-1888-4DCF-8E69-1CAD61C6FA27}"/>
              </a:ext>
            </a:extLst>
          </p:cNvPr>
          <p:cNvSpPr txBox="1"/>
          <p:nvPr/>
        </p:nvSpPr>
        <p:spPr>
          <a:xfrm>
            <a:off x="8591399" y="6129239"/>
            <a:ext cx="3000526" cy="400110"/>
          </a:xfrm>
          <a:prstGeom prst="rect">
            <a:avLst/>
          </a:prstGeom>
          <a:noFill/>
        </p:spPr>
        <p:txBody>
          <a:bodyPr wrap="square" lIns="91440" tIns="45720" rIns="91440" bIns="45720" rtlCol="0" anchor="t">
            <a:spAutoFit/>
          </a:bodyPr>
          <a:lstStyle/>
          <a:p>
            <a:pPr algn="r"/>
            <a:r>
              <a:rPr lang="es-CL" sz="2000" b="1">
                <a:solidFill>
                  <a:srgbClr val="1F4E79"/>
                </a:solidFill>
                <a:latin typeface="gobCL"/>
              </a:rPr>
              <a:t>11 de diciembre de 2023</a:t>
            </a:r>
          </a:p>
        </p:txBody>
      </p:sp>
    </p:spTree>
    <p:extLst>
      <p:ext uri="{BB962C8B-B14F-4D97-AF65-F5344CB8AC3E}">
        <p14:creationId xmlns:p14="http://schemas.microsoft.com/office/powerpoint/2010/main" val="47491392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CuadroTexto 2">
            <a:extLst>
              <a:ext uri="{FF2B5EF4-FFF2-40B4-BE49-F238E27FC236}">
                <a16:creationId xmlns:a16="http://schemas.microsoft.com/office/drawing/2014/main" id="{9E60C140-6D2F-A5BB-B084-B1EB76F986A2}"/>
              </a:ext>
            </a:extLst>
          </p:cNvPr>
          <p:cNvSpPr txBox="1"/>
          <p:nvPr/>
        </p:nvSpPr>
        <p:spPr>
          <a:xfrm>
            <a:off x="970379" y="4808916"/>
            <a:ext cx="10335885" cy="707886"/>
          </a:xfrm>
          <a:prstGeom prst="rect">
            <a:avLst/>
          </a:prstGeom>
          <a:noFill/>
        </p:spPr>
        <p:txBody>
          <a:bodyPr wrap="square" lIns="91440" tIns="45720" rIns="91440" bIns="45720" rtlCol="0" anchor="t">
            <a:spAutoFit/>
          </a:bodyPr>
          <a:lstStyle/>
          <a:p>
            <a:r>
              <a:rPr lang="es-ES" sz="4000" b="1">
                <a:solidFill>
                  <a:srgbClr val="1F4E79"/>
                </a:solidFill>
                <a:latin typeface="gobCL"/>
              </a:rPr>
              <a:t>Mesas Transversales</a:t>
            </a:r>
            <a:endParaRPr lang="es-ES" sz="4000">
              <a:solidFill>
                <a:srgbClr val="1F4E79"/>
              </a:solidFill>
              <a:ea typeface="+mn-lt"/>
              <a:cs typeface="+mn-lt"/>
            </a:endParaRPr>
          </a:p>
        </p:txBody>
      </p:sp>
      <p:pic>
        <p:nvPicPr>
          <p:cNvPr id="2" name="Imagen 1">
            <a:extLst>
              <a:ext uri="{FF2B5EF4-FFF2-40B4-BE49-F238E27FC236}">
                <a16:creationId xmlns:a16="http://schemas.microsoft.com/office/drawing/2014/main" id="{97F6FB59-880B-4A7A-668A-BF06E1EDFCE3}"/>
              </a:ext>
            </a:extLst>
          </p:cNvPr>
          <p:cNvPicPr>
            <a:picLocks noChangeAspect="1"/>
          </p:cNvPicPr>
          <p:nvPr/>
        </p:nvPicPr>
        <p:blipFill>
          <a:blip r:embed="rId2"/>
          <a:stretch>
            <a:fillRect/>
          </a:stretch>
        </p:blipFill>
        <p:spPr>
          <a:xfrm>
            <a:off x="573898" y="4961783"/>
            <a:ext cx="396481" cy="353168"/>
          </a:xfrm>
          <a:prstGeom prst="rect">
            <a:avLst/>
          </a:prstGeom>
        </p:spPr>
      </p:pic>
    </p:spTree>
    <p:extLst>
      <p:ext uri="{BB962C8B-B14F-4D97-AF65-F5344CB8AC3E}">
        <p14:creationId xmlns:p14="http://schemas.microsoft.com/office/powerpoint/2010/main" val="10579230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66AE1B3-A580-482F-9F24-45B1B9245A2F}"/>
              </a:ext>
            </a:extLst>
          </p:cNvPr>
          <p:cNvSpPr>
            <a:spLocks noGrp="1"/>
          </p:cNvSpPr>
          <p:nvPr>
            <p:ph type="title"/>
          </p:nvPr>
        </p:nvSpPr>
        <p:spPr>
          <a:xfrm>
            <a:off x="556827" y="287723"/>
            <a:ext cx="7347653" cy="639586"/>
          </a:xfrm>
        </p:spPr>
        <p:txBody>
          <a:bodyPr>
            <a:normAutofit/>
          </a:bodyPr>
          <a:lstStyle/>
          <a:p>
            <a:r>
              <a:rPr lang="es-ES" sz="2800" b="1">
                <a:solidFill>
                  <a:srgbClr val="1F4E79"/>
                </a:solidFill>
                <a:latin typeface="gobCL"/>
                <a:ea typeface="+mn-ea"/>
                <a:cs typeface="+mn-cs"/>
              </a:rPr>
              <a:t>Mesas Transversales</a:t>
            </a:r>
            <a:endParaRPr lang="es-CL" sz="2800" b="1">
              <a:solidFill>
                <a:srgbClr val="1F4E79"/>
              </a:solidFill>
              <a:latin typeface="gobCL"/>
              <a:ea typeface="+mn-ea"/>
              <a:cs typeface="+mn-cs"/>
            </a:endParaRPr>
          </a:p>
        </p:txBody>
      </p:sp>
      <p:graphicFrame>
        <p:nvGraphicFramePr>
          <p:cNvPr id="3" name="Tabla 2">
            <a:extLst>
              <a:ext uri="{FF2B5EF4-FFF2-40B4-BE49-F238E27FC236}">
                <a16:creationId xmlns:a16="http://schemas.microsoft.com/office/drawing/2014/main" id="{9220FDDA-5187-89D4-426E-54589DFC76B5}"/>
              </a:ext>
            </a:extLst>
          </p:cNvPr>
          <p:cNvGraphicFramePr>
            <a:graphicFrameLocks noGrp="1"/>
          </p:cNvGraphicFramePr>
          <p:nvPr>
            <p:extLst>
              <p:ext uri="{D42A27DB-BD31-4B8C-83A1-F6EECF244321}">
                <p14:modId xmlns:p14="http://schemas.microsoft.com/office/powerpoint/2010/main" val="2812681660"/>
              </p:ext>
            </p:extLst>
          </p:nvPr>
        </p:nvGraphicFramePr>
        <p:xfrm>
          <a:off x="594009" y="1355699"/>
          <a:ext cx="10297512" cy="4950584"/>
        </p:xfrm>
        <a:graphic>
          <a:graphicData uri="http://schemas.openxmlformats.org/drawingml/2006/table">
            <a:tbl>
              <a:tblPr firstRow="1" bandRow="1">
                <a:tableStyleId>{B301B821-A1FF-4177-AEE7-76D212191A09}</a:tableStyleId>
              </a:tblPr>
              <a:tblGrid>
                <a:gridCol w="9602985">
                  <a:extLst>
                    <a:ext uri="{9D8B030D-6E8A-4147-A177-3AD203B41FA5}">
                      <a16:colId xmlns:a16="http://schemas.microsoft.com/office/drawing/2014/main" val="265563881"/>
                    </a:ext>
                  </a:extLst>
                </a:gridCol>
                <a:gridCol w="694527">
                  <a:extLst>
                    <a:ext uri="{9D8B030D-6E8A-4147-A177-3AD203B41FA5}">
                      <a16:colId xmlns:a16="http://schemas.microsoft.com/office/drawing/2014/main" val="701581697"/>
                    </a:ext>
                  </a:extLst>
                </a:gridCol>
              </a:tblGrid>
              <a:tr h="324088">
                <a:tc>
                  <a:txBody>
                    <a:bodyPr/>
                    <a:lstStyle/>
                    <a:p>
                      <a:pPr algn="ctr" fontAlgn="b"/>
                      <a:r>
                        <a:rPr lang="es-ES" sz="1800" u="none" strike="noStrike">
                          <a:effectLst/>
                          <a:latin typeface="gobCL"/>
                        </a:rPr>
                        <a:t>CUIDADO INFANTIL</a:t>
                      </a:r>
                      <a:endParaRPr lang="es-CL" sz="1800" u="none" strike="noStrike">
                        <a:effectLst/>
                        <a:latin typeface="gobCL"/>
                      </a:endParaRPr>
                    </a:p>
                  </a:txBody>
                  <a:tcPr marL="8601" marR="8601" marT="8601" marB="0" anchor="ctr">
                    <a:lnL w="0">
                      <a:noFill/>
                    </a:lnL>
                    <a:lnR w="0">
                      <a:noFill/>
                    </a:lnR>
                    <a:lnT w="0">
                      <a:noFill/>
                    </a:lnT>
                    <a:lnB w="0">
                      <a:noFill/>
                    </a:lnB>
                    <a:solidFill>
                      <a:srgbClr val="004677"/>
                    </a:solidFill>
                  </a:tcPr>
                </a:tc>
                <a:tc>
                  <a:txBody>
                    <a:bodyPr/>
                    <a:lstStyle/>
                    <a:p>
                      <a:pPr algn="ctr" fontAlgn="b"/>
                      <a:endParaRPr lang="es-CL" sz="1400" u="none" strike="noStrike">
                        <a:effectLst/>
                        <a:latin typeface="gobCL" pitchFamily="50" charset="0"/>
                      </a:endParaRPr>
                    </a:p>
                  </a:txBody>
                  <a:tcPr marL="8601" marR="8601" marT="8601" marB="0" anchor="ctr">
                    <a:lnL w="0">
                      <a:noFill/>
                    </a:lnL>
                    <a:lnR w="0">
                      <a:noFill/>
                    </a:lnR>
                    <a:lnT w="0">
                      <a:noFill/>
                    </a:lnT>
                    <a:lnB w="0">
                      <a:noFill/>
                    </a:lnB>
                    <a:solidFill>
                      <a:srgbClr val="004677"/>
                    </a:solidFill>
                  </a:tcPr>
                </a:tc>
                <a:extLst>
                  <a:ext uri="{0D108BD9-81ED-4DB2-BD59-A6C34878D82A}">
                    <a16:rowId xmlns:a16="http://schemas.microsoft.com/office/drawing/2014/main" val="421966448"/>
                  </a:ext>
                </a:extLst>
              </a:tr>
              <a:tr h="887306">
                <a:tc>
                  <a:txBody>
                    <a:bodyPr/>
                    <a:lstStyle/>
                    <a:p>
                      <a:pPr algn="l" fontAlgn="b"/>
                      <a:r>
                        <a:rPr lang="es-ES" sz="1600" u="none" strike="noStrike" kern="1200">
                          <a:solidFill>
                            <a:srgbClr val="1F4E79"/>
                          </a:solidFill>
                          <a:effectLst/>
                          <a:latin typeface="gobCL"/>
                        </a:rPr>
                        <a:t>C1: Durante 2023 los Servicios realizarán autoevaluación de requisitos para autorizar salas cunas y jardines institucionales con apoyo de la Subsecretaría de Educación Parvularia. En el Presupuesto 2024, se iniciará un programa de inversión para su acreditación.</a:t>
                      </a:r>
                    </a:p>
                  </a:txBody>
                  <a:tcPr marL="8601" marR="8601" marT="8601" marB="0" anchor="ctr">
                    <a:lnL w="0">
                      <a:noFill/>
                    </a:lnL>
                    <a:lnR w="0">
                      <a:noFill/>
                    </a:lnR>
                    <a:lnT w="0">
                      <a:noFill/>
                    </a:lnT>
                    <a:lnB w="0">
                      <a:noFill/>
                    </a:lnB>
                    <a:noFill/>
                  </a:tcPr>
                </a:tc>
                <a:tc>
                  <a:txBody>
                    <a:bodyPr/>
                    <a:lstStyle/>
                    <a:p>
                      <a:pPr algn="l" fontAlgn="b"/>
                      <a:endParaRPr lang="es-CL" sz="16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579461283"/>
                  </a:ext>
                </a:extLst>
              </a:tr>
              <a:tr h="1016000">
                <a:tc>
                  <a:txBody>
                    <a:bodyPr/>
                    <a:lstStyle/>
                    <a:p>
                      <a:pPr algn="l" fontAlgn="b"/>
                      <a:r>
                        <a:rPr lang="es-ES" sz="1600" u="none" strike="noStrike" kern="1200">
                          <a:solidFill>
                            <a:srgbClr val="1F4E79"/>
                          </a:solidFill>
                          <a:effectLst/>
                          <a:latin typeface="gobCL"/>
                        </a:rPr>
                        <a:t>C2: Para 2023 el Ministerio de Salud incorporó a su presupuesto nueva línea de expansión para cuidados infantiles, que contempla $1.300 millones para incorporar personal en las salas cunas y jardines infantiles de servicios de salud y mejoras en infraestructura en 25 establecimientos.</a:t>
                      </a:r>
                    </a:p>
                  </a:txBody>
                  <a:tcPr marL="8601" marR="8601" marT="8601" marB="0" anchor="ctr">
                    <a:lnL w="0">
                      <a:noFill/>
                    </a:lnL>
                    <a:lnR w="0">
                      <a:noFill/>
                    </a:lnR>
                    <a:lnT w="0">
                      <a:noFill/>
                    </a:lnT>
                    <a:lnB w="0">
                      <a:noFill/>
                    </a:lnB>
                    <a:noFill/>
                  </a:tcPr>
                </a:tc>
                <a:tc>
                  <a:txBody>
                    <a:bodyPr/>
                    <a:lstStyle/>
                    <a:p>
                      <a:pPr algn="l" fontAlgn="b"/>
                      <a:endParaRPr lang="es-CL" sz="16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53251977"/>
                  </a:ext>
                </a:extLst>
              </a:tr>
              <a:tr h="758614">
                <a:tc>
                  <a:txBody>
                    <a:bodyPr/>
                    <a:lstStyle/>
                    <a:p>
                      <a:pPr algn="l" fontAlgn="b"/>
                      <a:r>
                        <a:rPr lang="es-CL" sz="1600" u="none" strike="noStrike" kern="1200">
                          <a:solidFill>
                            <a:srgbClr val="1F4E79"/>
                          </a:solidFill>
                          <a:effectLst/>
                          <a:latin typeface="gobCL"/>
                        </a:rPr>
                        <a:t>C3: Se realizará un estudio de costos de ampliación de la cobertura de cuidado infantil para hijos e hijas, de entre 2 y 12 años de edad, de funcionarios/as públicos/as, evaluando de forma específica a aquellos/as sujetos a jornadas por turno. </a:t>
                      </a:r>
                    </a:p>
                  </a:txBody>
                  <a:tcPr marL="8601" marR="8601" marT="8601" marB="0" anchor="ctr">
                    <a:lnL w="0">
                      <a:noFill/>
                    </a:lnL>
                    <a:lnR w="0">
                      <a:noFill/>
                    </a:lnR>
                    <a:lnT w="0">
                      <a:noFill/>
                    </a:lnT>
                    <a:lnB w="0">
                      <a:noFill/>
                    </a:lnB>
                    <a:noFill/>
                  </a:tcPr>
                </a:tc>
                <a:tc>
                  <a:txBody>
                    <a:bodyPr/>
                    <a:lstStyle/>
                    <a:p>
                      <a:pPr algn="l" fontAlgn="b"/>
                      <a:endParaRPr lang="es-CL" sz="16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2393037315"/>
                  </a:ext>
                </a:extLst>
              </a:tr>
              <a:tr h="1131146">
                <a:tc>
                  <a:txBody>
                    <a:bodyPr/>
                    <a:lstStyle/>
                    <a:p>
                      <a:pPr algn="l" fontAlgn="b"/>
                      <a:r>
                        <a:rPr lang="es-ES" sz="1600" u="none" strike="noStrike" kern="1200">
                          <a:solidFill>
                            <a:srgbClr val="1F4E79"/>
                          </a:solidFill>
                          <a:effectLst/>
                          <a:latin typeface="gobCL"/>
                        </a:rPr>
                        <a:t>C4: El Ejecutivo levantará información respecto de la demanda insatisfecha por cupos en jardines infantiles en aquellos lugares donde se identifique que no están cubiertos los requerimientos de cuidado infantil originados por población y/o funcionarios públicos en todos los sectores de la administración central, descentralizada y autónoma, para priorizar inversiones en estos lugares.</a:t>
                      </a:r>
                    </a:p>
                  </a:txBody>
                  <a:tcPr marL="8601" marR="8601" marT="8601" marB="0" anchor="ctr">
                    <a:lnL w="0">
                      <a:noFill/>
                    </a:lnL>
                    <a:lnR w="0">
                      <a:noFill/>
                    </a:lnR>
                    <a:lnT w="0">
                      <a:noFill/>
                    </a:lnT>
                    <a:lnB w="0">
                      <a:noFill/>
                    </a:lnB>
                    <a:noFill/>
                  </a:tcPr>
                </a:tc>
                <a:tc>
                  <a:txBody>
                    <a:bodyPr/>
                    <a:lstStyle/>
                    <a:p>
                      <a:pPr algn="l" fontAlgn="b"/>
                      <a:endParaRPr lang="es-CL" sz="16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300231672"/>
                  </a:ext>
                </a:extLst>
              </a:tr>
              <a:tr h="833430">
                <a:tc>
                  <a:txBody>
                    <a:bodyPr/>
                    <a:lstStyle/>
                    <a:p>
                      <a:pPr algn="l" fontAlgn="b"/>
                      <a:r>
                        <a:rPr lang="es-ES" sz="1600" u="none" strike="noStrike" kern="1200">
                          <a:solidFill>
                            <a:srgbClr val="1F4E79"/>
                          </a:solidFill>
                          <a:effectLst/>
                          <a:latin typeface="gobCL"/>
                        </a:rPr>
                        <a:t>C5: Estudiar provisión ampliada existente en el Minsal, en función de resolver las problemáticas que se identifiquen y las regulaciones que limitan su buen financiamiento y provisión de alimentación para los/as niños/as.</a:t>
                      </a:r>
                      <a:endParaRPr lang="es-CL" sz="1600" u="none" strike="noStrike" kern="1200">
                        <a:solidFill>
                          <a:srgbClr val="1F4E79"/>
                        </a:solidFill>
                        <a:effectLst/>
                        <a:latin typeface="gobCL"/>
                      </a:endParaRPr>
                    </a:p>
                  </a:txBody>
                  <a:tcPr marL="8601" marR="8601" marT="8601" marB="0" anchor="ctr">
                    <a:lnL w="0">
                      <a:noFill/>
                    </a:lnL>
                    <a:lnR w="0">
                      <a:noFill/>
                    </a:lnR>
                    <a:lnT w="0">
                      <a:noFill/>
                    </a:lnT>
                    <a:lnB w="0">
                      <a:noFill/>
                    </a:lnB>
                    <a:noFill/>
                  </a:tcPr>
                </a:tc>
                <a:tc>
                  <a:txBody>
                    <a:bodyPr/>
                    <a:lstStyle/>
                    <a:p>
                      <a:pPr algn="l" fontAlgn="b"/>
                      <a:endParaRPr lang="es-CL" sz="16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902931934"/>
                  </a:ext>
                </a:extLst>
              </a:tr>
            </a:tbl>
          </a:graphicData>
        </a:graphic>
      </p:graphicFrame>
      <p:grpSp>
        <p:nvGrpSpPr>
          <p:cNvPr id="19" name="Grupo 18">
            <a:extLst>
              <a:ext uri="{FF2B5EF4-FFF2-40B4-BE49-F238E27FC236}">
                <a16:creationId xmlns:a16="http://schemas.microsoft.com/office/drawing/2014/main" id="{512FE3F2-F785-3921-C479-9CF46A9ACCFF}"/>
              </a:ext>
            </a:extLst>
          </p:cNvPr>
          <p:cNvGrpSpPr/>
          <p:nvPr/>
        </p:nvGrpSpPr>
        <p:grpSpPr>
          <a:xfrm>
            <a:off x="8486731" y="249597"/>
            <a:ext cx="1613258" cy="830802"/>
            <a:chOff x="9242105" y="249597"/>
            <a:chExt cx="1613258" cy="830802"/>
          </a:xfrm>
        </p:grpSpPr>
        <p:pic>
          <p:nvPicPr>
            <p:cNvPr id="20" name="Gráfico 19" descr="Harvey Balls 100% con relleno sólido">
              <a:extLst>
                <a:ext uri="{FF2B5EF4-FFF2-40B4-BE49-F238E27FC236}">
                  <a16:creationId xmlns:a16="http://schemas.microsoft.com/office/drawing/2014/main" id="{C0694162-2FF4-CD15-70BA-F1936E51FC0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242105" y="533241"/>
              <a:ext cx="250031" cy="250031"/>
            </a:xfrm>
            <a:prstGeom prst="rect">
              <a:avLst/>
            </a:prstGeom>
          </p:spPr>
        </p:pic>
        <p:sp>
          <p:nvSpPr>
            <p:cNvPr id="21" name="CuadroTexto 20">
              <a:extLst>
                <a:ext uri="{FF2B5EF4-FFF2-40B4-BE49-F238E27FC236}">
                  <a16:creationId xmlns:a16="http://schemas.microsoft.com/office/drawing/2014/main" id="{E11A4F48-EA07-DBDA-556D-A099E9CE236D}"/>
                </a:ext>
              </a:extLst>
            </p:cNvPr>
            <p:cNvSpPr txBox="1"/>
            <p:nvPr/>
          </p:nvSpPr>
          <p:spPr>
            <a:xfrm>
              <a:off x="9492136" y="251101"/>
              <a:ext cx="1363227" cy="276999"/>
            </a:xfrm>
            <a:prstGeom prst="rect">
              <a:avLst/>
            </a:prstGeom>
            <a:noFill/>
          </p:spPr>
          <p:txBody>
            <a:bodyPr wrap="square">
              <a:spAutoFit/>
            </a:bodyPr>
            <a:lstStyle/>
            <a:p>
              <a:r>
                <a:rPr lang="es-CL" sz="1200">
                  <a:solidFill>
                    <a:schemeClr val="bg2">
                      <a:lumMod val="25000"/>
                    </a:schemeClr>
                  </a:solidFill>
                  <a:latin typeface="gobCL"/>
                </a:rPr>
                <a:t>Completado</a:t>
              </a:r>
            </a:p>
          </p:txBody>
        </p:sp>
        <p:sp>
          <p:nvSpPr>
            <p:cNvPr id="22" name="CuadroTexto 21">
              <a:extLst>
                <a:ext uri="{FF2B5EF4-FFF2-40B4-BE49-F238E27FC236}">
                  <a16:creationId xmlns:a16="http://schemas.microsoft.com/office/drawing/2014/main" id="{EEE776FA-2D7D-6529-E65D-A964FA2544AD}"/>
                </a:ext>
              </a:extLst>
            </p:cNvPr>
            <p:cNvSpPr txBox="1"/>
            <p:nvPr/>
          </p:nvSpPr>
          <p:spPr>
            <a:xfrm>
              <a:off x="9492136" y="511862"/>
              <a:ext cx="1363227" cy="307777"/>
            </a:xfrm>
            <a:prstGeom prst="rect">
              <a:avLst/>
            </a:prstGeom>
            <a:noFill/>
          </p:spPr>
          <p:txBody>
            <a:bodyPr wrap="square">
              <a:spAutoFit/>
            </a:bodyPr>
            <a:lstStyle/>
            <a:p>
              <a:r>
                <a:rPr lang="es-CL" sz="1200">
                  <a:solidFill>
                    <a:schemeClr val="bg2">
                      <a:lumMod val="25000"/>
                    </a:schemeClr>
                  </a:solidFill>
                  <a:latin typeface="gobCL"/>
                </a:rPr>
                <a:t>En</a:t>
              </a:r>
              <a:r>
                <a:rPr lang="es-CL" sz="1400" b="0" i="0" u="none" strike="noStrike">
                  <a:solidFill>
                    <a:schemeClr val="bg2">
                      <a:lumMod val="25000"/>
                    </a:schemeClr>
                  </a:solidFill>
                  <a:effectLst/>
                  <a:latin typeface="gobCL"/>
                </a:rPr>
                <a:t> </a:t>
              </a:r>
              <a:r>
                <a:rPr lang="es-CL" sz="1200">
                  <a:solidFill>
                    <a:schemeClr val="bg2">
                      <a:lumMod val="25000"/>
                    </a:schemeClr>
                  </a:solidFill>
                  <a:latin typeface="gobCL"/>
                </a:rPr>
                <a:t>proceso</a:t>
              </a:r>
            </a:p>
          </p:txBody>
        </p:sp>
        <p:sp>
          <p:nvSpPr>
            <p:cNvPr id="23" name="CuadroTexto 22">
              <a:extLst>
                <a:ext uri="{FF2B5EF4-FFF2-40B4-BE49-F238E27FC236}">
                  <a16:creationId xmlns:a16="http://schemas.microsoft.com/office/drawing/2014/main" id="{9F84EF97-25ED-4B94-047F-F8864E1F7B81}"/>
                </a:ext>
              </a:extLst>
            </p:cNvPr>
            <p:cNvSpPr txBox="1"/>
            <p:nvPr/>
          </p:nvSpPr>
          <p:spPr>
            <a:xfrm>
              <a:off x="9492136" y="803400"/>
              <a:ext cx="1363227" cy="276999"/>
            </a:xfrm>
            <a:prstGeom prst="rect">
              <a:avLst/>
            </a:prstGeom>
            <a:noFill/>
          </p:spPr>
          <p:txBody>
            <a:bodyPr wrap="square">
              <a:spAutoFit/>
            </a:bodyPr>
            <a:lstStyle/>
            <a:p>
              <a:r>
                <a:rPr lang="es-CL" sz="1200">
                  <a:solidFill>
                    <a:schemeClr val="bg2">
                      <a:lumMod val="25000"/>
                    </a:schemeClr>
                  </a:solidFill>
                  <a:latin typeface="gobCL"/>
                </a:rPr>
                <a:t>Pendiente</a:t>
              </a:r>
            </a:p>
          </p:txBody>
        </p:sp>
        <p:pic>
          <p:nvPicPr>
            <p:cNvPr id="24" name="Gráfico 23" descr="Harvey Balls 100% con relleno sólido">
              <a:extLst>
                <a:ext uri="{FF2B5EF4-FFF2-40B4-BE49-F238E27FC236}">
                  <a16:creationId xmlns:a16="http://schemas.microsoft.com/office/drawing/2014/main" id="{9A476951-C11C-FFDC-F358-6138F9A47C3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242105" y="816885"/>
              <a:ext cx="250031" cy="250031"/>
            </a:xfrm>
            <a:prstGeom prst="rect">
              <a:avLst/>
            </a:prstGeom>
          </p:spPr>
        </p:pic>
        <p:pic>
          <p:nvPicPr>
            <p:cNvPr id="25" name="Gráfico 24" descr="Harvey Balls 100% con relleno sólido">
              <a:extLst>
                <a:ext uri="{FF2B5EF4-FFF2-40B4-BE49-F238E27FC236}">
                  <a16:creationId xmlns:a16="http://schemas.microsoft.com/office/drawing/2014/main" id="{2016EEA6-A89B-1FA6-323D-3CDEABB363D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242105" y="249597"/>
              <a:ext cx="250031" cy="250031"/>
            </a:xfrm>
            <a:prstGeom prst="rect">
              <a:avLst/>
            </a:prstGeom>
          </p:spPr>
        </p:pic>
      </p:grpSp>
      <p:pic>
        <p:nvPicPr>
          <p:cNvPr id="26" name="Gráfico 25" descr="Harvey Balls 100% con relleno sólido">
            <a:extLst>
              <a:ext uri="{FF2B5EF4-FFF2-40B4-BE49-F238E27FC236}">
                <a16:creationId xmlns:a16="http://schemas.microsoft.com/office/drawing/2014/main" id="{E0A5C576-FD49-CB18-63D9-45C93AACFF7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337750" y="1884678"/>
            <a:ext cx="351110" cy="351110"/>
          </a:xfrm>
          <a:prstGeom prst="rect">
            <a:avLst/>
          </a:prstGeom>
        </p:spPr>
      </p:pic>
      <p:pic>
        <p:nvPicPr>
          <p:cNvPr id="27" name="Gráfico 26" descr="Harvey Balls 100% con relleno sólido">
            <a:extLst>
              <a:ext uri="{FF2B5EF4-FFF2-40B4-BE49-F238E27FC236}">
                <a16:creationId xmlns:a16="http://schemas.microsoft.com/office/drawing/2014/main" id="{6C268E0B-DCC0-DF50-1DB1-D7806FE1CFC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10337750" y="3669035"/>
            <a:ext cx="351110" cy="351110"/>
          </a:xfrm>
          <a:prstGeom prst="rect">
            <a:avLst/>
          </a:prstGeom>
        </p:spPr>
      </p:pic>
      <p:pic>
        <p:nvPicPr>
          <p:cNvPr id="28" name="Gráfico 27" descr="Harvey Balls 100% con relleno sólido">
            <a:extLst>
              <a:ext uri="{FF2B5EF4-FFF2-40B4-BE49-F238E27FC236}">
                <a16:creationId xmlns:a16="http://schemas.microsoft.com/office/drawing/2014/main" id="{828A58F4-3151-F364-004C-8380B0CE5C2F}"/>
              </a:ext>
            </a:extLst>
          </p:cNvPr>
          <p:cNvPicPr>
            <a:picLocks noChangeAspect="1"/>
          </p:cNvPicPr>
          <p:nvPr/>
        </p:nvPicPr>
        <p:blipFill>
          <a:blip r:embed="rId7">
            <a:extLst>
              <a:ext uri="{96DAC541-7B7A-43D3-8B79-37D633B846F1}">
                <asvg:svgBlip xmlns:asvg="http://schemas.microsoft.com/office/drawing/2016/SVG/main" r:embed="rId13"/>
              </a:ext>
            </a:extLst>
          </a:blip>
          <a:stretch>
            <a:fillRect/>
          </a:stretch>
        </p:blipFill>
        <p:spPr>
          <a:xfrm>
            <a:off x="10338290" y="2774038"/>
            <a:ext cx="351110" cy="351110"/>
          </a:xfrm>
          <a:prstGeom prst="rect">
            <a:avLst/>
          </a:prstGeom>
        </p:spPr>
      </p:pic>
      <p:pic>
        <p:nvPicPr>
          <p:cNvPr id="29" name="Gráfico 28" descr="Harvey Balls 100% con relleno sólido">
            <a:extLst>
              <a:ext uri="{FF2B5EF4-FFF2-40B4-BE49-F238E27FC236}">
                <a16:creationId xmlns:a16="http://schemas.microsoft.com/office/drawing/2014/main" id="{11FBF7D3-FD7E-5ACC-58F1-5E77F4E82E93}"/>
              </a:ext>
            </a:extLst>
          </p:cNvPr>
          <p:cNvPicPr>
            <a:picLocks noChangeAspect="1"/>
          </p:cNvPicPr>
          <p:nvPr/>
        </p:nvPicPr>
        <p:blipFill>
          <a:blip r:embed="rId7">
            <a:extLst>
              <a:ext uri="{96DAC541-7B7A-43D3-8B79-37D633B846F1}">
                <asvg:svgBlip xmlns:asvg="http://schemas.microsoft.com/office/drawing/2016/SVG/main" r:embed="rId13"/>
              </a:ext>
            </a:extLst>
          </a:blip>
          <a:stretch>
            <a:fillRect/>
          </a:stretch>
        </p:blipFill>
        <p:spPr>
          <a:xfrm>
            <a:off x="10337750" y="4540160"/>
            <a:ext cx="351110" cy="351110"/>
          </a:xfrm>
          <a:prstGeom prst="rect">
            <a:avLst/>
          </a:prstGeom>
        </p:spPr>
      </p:pic>
      <p:pic>
        <p:nvPicPr>
          <p:cNvPr id="15" name="Gráfico 14" descr="Harvey Balls 100% con relleno sólido">
            <a:extLst>
              <a:ext uri="{FF2B5EF4-FFF2-40B4-BE49-F238E27FC236}">
                <a16:creationId xmlns:a16="http://schemas.microsoft.com/office/drawing/2014/main" id="{C03069CB-C670-9BE6-88F8-7415FC6B3F0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337750" y="5638946"/>
            <a:ext cx="351110" cy="351110"/>
          </a:xfrm>
          <a:prstGeom prst="rect">
            <a:avLst/>
          </a:prstGeom>
        </p:spPr>
      </p:pic>
      <p:sp>
        <p:nvSpPr>
          <p:cNvPr id="8" name="Elipse 7">
            <a:extLst>
              <a:ext uri="{FF2B5EF4-FFF2-40B4-BE49-F238E27FC236}">
                <a16:creationId xmlns:a16="http://schemas.microsoft.com/office/drawing/2014/main" id="{FFFBE7E9-292C-E73B-F748-B004652EC837}"/>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10" name="Marcador de número de diapositiva 2">
            <a:extLst>
              <a:ext uri="{FF2B5EF4-FFF2-40B4-BE49-F238E27FC236}">
                <a16:creationId xmlns:a16="http://schemas.microsoft.com/office/drawing/2014/main" id="{E2B47113-9633-C8DE-BF38-5BC191FFCF20}"/>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39</a:t>
            </a:fld>
            <a:endParaRPr lang="en-US" b="1">
              <a:solidFill>
                <a:schemeClr val="bg1"/>
              </a:solidFill>
              <a:latin typeface="Calibri"/>
              <a:ea typeface="ヒラギノ角ゴ Pro W3"/>
              <a:cs typeface="Calibri"/>
            </a:endParaRPr>
          </a:p>
        </p:txBody>
      </p:sp>
    </p:spTree>
    <p:extLst>
      <p:ext uri="{BB962C8B-B14F-4D97-AF65-F5344CB8AC3E}">
        <p14:creationId xmlns:p14="http://schemas.microsoft.com/office/powerpoint/2010/main" val="2628919268"/>
      </p:ext>
    </p:extLst>
  </p:cSld>
  <p:clrMapOvr>
    <a:masterClrMapping/>
  </p:clrMapOvr>
  <p:extLst>
    <p:ext uri="{6950BFC3-D8DA-4A85-94F7-54DA5524770B}">
      <p188:commentRel xmlns:p188="http://schemas.microsoft.com/office/powerpoint/2018/8/main" r:id="rId2"/>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a:extLst>
              <a:ext uri="{FF2B5EF4-FFF2-40B4-BE49-F238E27FC236}">
                <a16:creationId xmlns:a16="http://schemas.microsoft.com/office/drawing/2014/main" id="{79FF9171-4EFA-C7FC-9453-8B12E46DE596}"/>
              </a:ext>
            </a:extLst>
          </p:cNvPr>
          <p:cNvSpPr txBox="1"/>
          <p:nvPr/>
        </p:nvSpPr>
        <p:spPr>
          <a:xfrm>
            <a:off x="559543" y="231064"/>
            <a:ext cx="7640874" cy="707886"/>
          </a:xfrm>
          <a:prstGeom prst="rect">
            <a:avLst/>
          </a:prstGeom>
          <a:noFill/>
        </p:spPr>
        <p:txBody>
          <a:bodyPr wrap="square" rtlCol="0">
            <a:spAutoFit/>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a:ln>
                  <a:noFill/>
                </a:ln>
                <a:solidFill>
                  <a:srgbClr val="1F4E79"/>
                </a:solidFill>
                <a:effectLst/>
                <a:uLnTx/>
                <a:uFillTx/>
                <a:latin typeface="gobCL"/>
                <a:ea typeface="+mn-ea"/>
                <a:cs typeface="+mn-cs"/>
              </a:rPr>
              <a:t>Las perspectivas de inflación se mantienen bajas y se espera una inflación de 3% para diciembre 2024</a:t>
            </a:r>
          </a:p>
        </p:txBody>
      </p:sp>
      <p:sp>
        <p:nvSpPr>
          <p:cNvPr id="6" name="Rectángulo 5">
            <a:extLst>
              <a:ext uri="{FF2B5EF4-FFF2-40B4-BE49-F238E27FC236}">
                <a16:creationId xmlns:a16="http://schemas.microsoft.com/office/drawing/2014/main" id="{EE818432-375A-DD5D-A833-30F9A85A95A4}"/>
              </a:ext>
            </a:extLst>
          </p:cNvPr>
          <p:cNvSpPr/>
          <p:nvPr/>
        </p:nvSpPr>
        <p:spPr>
          <a:xfrm>
            <a:off x="540087" y="6023981"/>
            <a:ext cx="5220000" cy="230832"/>
          </a:xfrm>
          <a:prstGeom prst="rect">
            <a:avLst/>
          </a:prstGeom>
        </p:spPr>
        <p:txBody>
          <a:bodyPr wrap="square">
            <a:spAutoFit/>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900" b="1" i="0" u="none" strike="noStrike" kern="1200" cap="none" spc="0" normalizeH="0" baseline="0" noProof="0">
                <a:ln>
                  <a:noFill/>
                </a:ln>
                <a:solidFill>
                  <a:srgbClr val="1F4E79"/>
                </a:solidFill>
                <a:effectLst/>
                <a:uLnTx/>
                <a:uFillTx/>
                <a:latin typeface="Gobcl" panose="02000603050000020004"/>
              </a:rPr>
              <a:t>Fuente: </a:t>
            </a:r>
            <a:r>
              <a:rPr lang="es-ES" sz="900">
                <a:solidFill>
                  <a:srgbClr val="1F4E79"/>
                </a:solidFill>
                <a:latin typeface="Gobcl" panose="02000603050000020004"/>
              </a:rPr>
              <a:t>Encuesta de Expectativas Económicas, Banco Central de Chile</a:t>
            </a:r>
            <a:r>
              <a:rPr kumimoji="0" lang="es-ES" sz="900" b="0" i="0" u="none" strike="noStrike" kern="1200" cap="none" spc="0" normalizeH="0" baseline="0" noProof="0">
                <a:ln>
                  <a:noFill/>
                </a:ln>
                <a:solidFill>
                  <a:srgbClr val="1F4E79"/>
                </a:solidFill>
                <a:effectLst/>
                <a:uLnTx/>
                <a:uFillTx/>
                <a:latin typeface="Gobcl" panose="02000603050000020004"/>
              </a:rPr>
              <a:t>.</a:t>
            </a:r>
          </a:p>
        </p:txBody>
      </p:sp>
      <p:graphicFrame>
        <p:nvGraphicFramePr>
          <p:cNvPr id="9" name="Gráfico 8">
            <a:extLst>
              <a:ext uri="{FF2B5EF4-FFF2-40B4-BE49-F238E27FC236}">
                <a16:creationId xmlns:a16="http://schemas.microsoft.com/office/drawing/2014/main" id="{D3A428B0-0F7C-436B-AEF4-2EBCC54D8DC9}"/>
              </a:ext>
            </a:extLst>
          </p:cNvPr>
          <p:cNvGraphicFramePr>
            <a:graphicFrameLocks/>
          </p:cNvGraphicFramePr>
          <p:nvPr>
            <p:extLst>
              <p:ext uri="{D42A27DB-BD31-4B8C-83A1-F6EECF244321}">
                <p14:modId xmlns:p14="http://schemas.microsoft.com/office/powerpoint/2010/main" val="4162617597"/>
              </p:ext>
            </p:extLst>
          </p:nvPr>
        </p:nvGraphicFramePr>
        <p:xfrm>
          <a:off x="603115" y="1358384"/>
          <a:ext cx="10311319" cy="4497667"/>
        </p:xfrm>
        <a:graphic>
          <a:graphicData uri="http://schemas.openxmlformats.org/drawingml/2006/chart">
            <c:chart xmlns:c="http://schemas.openxmlformats.org/drawingml/2006/chart" xmlns:r="http://schemas.openxmlformats.org/officeDocument/2006/relationships" r:id="rId3"/>
          </a:graphicData>
        </a:graphic>
      </p:graphicFrame>
      <p:sp>
        <p:nvSpPr>
          <p:cNvPr id="3" name="Elipse 2">
            <a:extLst>
              <a:ext uri="{FF2B5EF4-FFF2-40B4-BE49-F238E27FC236}">
                <a16:creationId xmlns:a16="http://schemas.microsoft.com/office/drawing/2014/main" id="{34B2FE10-327C-360E-68C5-8C541A77B3C8}"/>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4" name="Marcador de número de diapositiva 2">
            <a:extLst>
              <a:ext uri="{FF2B5EF4-FFF2-40B4-BE49-F238E27FC236}">
                <a16:creationId xmlns:a16="http://schemas.microsoft.com/office/drawing/2014/main" id="{8099AEEA-4CDF-C92E-C09C-9373A41383C2}"/>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4</a:t>
            </a:fld>
            <a:endParaRPr lang="en-US" b="1">
              <a:solidFill>
                <a:schemeClr val="bg1"/>
              </a:solidFill>
              <a:latin typeface="Calibri"/>
              <a:ea typeface="ヒラギノ角ゴ Pro W3"/>
              <a:cs typeface="Calibri"/>
            </a:endParaRPr>
          </a:p>
        </p:txBody>
      </p:sp>
    </p:spTree>
    <p:extLst>
      <p:ext uri="{BB962C8B-B14F-4D97-AF65-F5344CB8AC3E}">
        <p14:creationId xmlns:p14="http://schemas.microsoft.com/office/powerpoint/2010/main" val="388440397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66AE1B3-A580-482F-9F24-45B1B9245A2F}"/>
              </a:ext>
            </a:extLst>
          </p:cNvPr>
          <p:cNvSpPr>
            <a:spLocks noGrp="1"/>
          </p:cNvSpPr>
          <p:nvPr>
            <p:ph type="title"/>
          </p:nvPr>
        </p:nvSpPr>
        <p:spPr>
          <a:xfrm>
            <a:off x="556827" y="307185"/>
            <a:ext cx="10515600" cy="639586"/>
          </a:xfrm>
        </p:spPr>
        <p:txBody>
          <a:bodyPr>
            <a:normAutofit/>
          </a:bodyPr>
          <a:lstStyle/>
          <a:p>
            <a:r>
              <a:rPr lang="es-ES" sz="2800" b="1">
                <a:solidFill>
                  <a:srgbClr val="1A507C"/>
                </a:solidFill>
                <a:latin typeface="gobCL"/>
                <a:ea typeface="+mn-ea"/>
                <a:cs typeface="+mn-cs"/>
              </a:rPr>
              <a:t>Mesas Transversales</a:t>
            </a:r>
            <a:endParaRPr lang="es-CL" sz="2800" b="1">
              <a:solidFill>
                <a:srgbClr val="1A507C"/>
              </a:solidFill>
              <a:latin typeface="gobCL"/>
              <a:ea typeface="+mn-ea"/>
              <a:cs typeface="+mn-cs"/>
            </a:endParaRPr>
          </a:p>
        </p:txBody>
      </p:sp>
      <p:sp>
        <p:nvSpPr>
          <p:cNvPr id="5" name="Elipse 4">
            <a:extLst>
              <a:ext uri="{FF2B5EF4-FFF2-40B4-BE49-F238E27FC236}">
                <a16:creationId xmlns:a16="http://schemas.microsoft.com/office/drawing/2014/main" id="{C75B7C43-8DF4-4FF8-CDAA-78D79794023C}"/>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 name="Marcador de número de diapositiva 2">
            <a:extLst>
              <a:ext uri="{FF2B5EF4-FFF2-40B4-BE49-F238E27FC236}">
                <a16:creationId xmlns:a16="http://schemas.microsoft.com/office/drawing/2014/main" id="{EFE71632-71DE-2A54-64EA-E99EEEC99809}"/>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40</a:t>
            </a:fld>
            <a:endParaRPr lang="en-US" b="1">
              <a:solidFill>
                <a:schemeClr val="bg1"/>
              </a:solidFill>
              <a:latin typeface="Calibri"/>
              <a:ea typeface="ヒラギノ角ゴ Pro W3"/>
              <a:cs typeface="Calibri"/>
            </a:endParaRPr>
          </a:p>
        </p:txBody>
      </p:sp>
      <p:graphicFrame>
        <p:nvGraphicFramePr>
          <p:cNvPr id="3" name="Tabla 2">
            <a:extLst>
              <a:ext uri="{FF2B5EF4-FFF2-40B4-BE49-F238E27FC236}">
                <a16:creationId xmlns:a16="http://schemas.microsoft.com/office/drawing/2014/main" id="{9220FDDA-5187-89D4-426E-54589DFC76B5}"/>
              </a:ext>
            </a:extLst>
          </p:cNvPr>
          <p:cNvGraphicFramePr>
            <a:graphicFrameLocks noGrp="1"/>
          </p:cNvGraphicFramePr>
          <p:nvPr/>
        </p:nvGraphicFramePr>
        <p:xfrm>
          <a:off x="620485" y="1388991"/>
          <a:ext cx="10264261" cy="4679916"/>
        </p:xfrm>
        <a:graphic>
          <a:graphicData uri="http://schemas.openxmlformats.org/drawingml/2006/table">
            <a:tbl>
              <a:tblPr firstRow="1" bandRow="1">
                <a:tableStyleId>{B301B821-A1FF-4177-AEE7-76D212191A09}</a:tableStyleId>
              </a:tblPr>
              <a:tblGrid>
                <a:gridCol w="9644351">
                  <a:extLst>
                    <a:ext uri="{9D8B030D-6E8A-4147-A177-3AD203B41FA5}">
                      <a16:colId xmlns:a16="http://schemas.microsoft.com/office/drawing/2014/main" val="265563881"/>
                    </a:ext>
                  </a:extLst>
                </a:gridCol>
                <a:gridCol w="619910">
                  <a:extLst>
                    <a:ext uri="{9D8B030D-6E8A-4147-A177-3AD203B41FA5}">
                      <a16:colId xmlns:a16="http://schemas.microsoft.com/office/drawing/2014/main" val="701581697"/>
                    </a:ext>
                  </a:extLst>
                </a:gridCol>
              </a:tblGrid>
              <a:tr h="317889">
                <a:tc>
                  <a:txBody>
                    <a:bodyPr/>
                    <a:lstStyle/>
                    <a:p>
                      <a:pPr algn="ctr" fontAlgn="b"/>
                      <a:r>
                        <a:rPr lang="es-ES" sz="1800" u="none" strike="noStrike">
                          <a:effectLst/>
                          <a:latin typeface="gobCL"/>
                        </a:rPr>
                        <a:t>SEGURIDAD FUNCIONARIA </a:t>
                      </a:r>
                      <a:endParaRPr lang="es-CL" sz="1800" u="none" strike="noStrike">
                        <a:effectLst/>
                        <a:latin typeface="gobCL"/>
                      </a:endParaRPr>
                    </a:p>
                  </a:txBody>
                  <a:tcPr marL="8601" marR="8601" marT="8601" marB="0" anchor="ctr">
                    <a:lnL w="0">
                      <a:noFill/>
                    </a:lnL>
                    <a:lnR w="0">
                      <a:noFill/>
                    </a:lnR>
                    <a:lnT w="0">
                      <a:noFill/>
                    </a:lnT>
                    <a:lnB w="0">
                      <a:noFill/>
                    </a:lnB>
                    <a:solidFill>
                      <a:srgbClr val="004677"/>
                    </a:solidFill>
                  </a:tcPr>
                </a:tc>
                <a:tc>
                  <a:txBody>
                    <a:bodyPr/>
                    <a:lstStyle/>
                    <a:p>
                      <a:pPr algn="ctr" fontAlgn="b"/>
                      <a:endParaRPr lang="es-CL" sz="1400" u="none" strike="noStrike">
                        <a:effectLst/>
                        <a:latin typeface="gobCL" pitchFamily="50" charset="0"/>
                      </a:endParaRPr>
                    </a:p>
                  </a:txBody>
                  <a:tcPr marL="8601" marR="8601" marT="8601" marB="0" anchor="ctr">
                    <a:lnL w="0">
                      <a:noFill/>
                    </a:lnL>
                    <a:lnR w="0">
                      <a:noFill/>
                    </a:lnR>
                    <a:lnT w="0">
                      <a:noFill/>
                    </a:lnT>
                    <a:lnB w="0">
                      <a:noFill/>
                    </a:lnB>
                    <a:solidFill>
                      <a:srgbClr val="004677"/>
                    </a:solidFill>
                  </a:tcPr>
                </a:tc>
                <a:extLst>
                  <a:ext uri="{0D108BD9-81ED-4DB2-BD59-A6C34878D82A}">
                    <a16:rowId xmlns:a16="http://schemas.microsoft.com/office/drawing/2014/main" val="421966448"/>
                  </a:ext>
                </a:extLst>
              </a:tr>
              <a:tr h="699976">
                <a:tc>
                  <a:txBody>
                    <a:bodyPr/>
                    <a:lstStyle/>
                    <a:p>
                      <a:pPr algn="l" fontAlgn="t"/>
                      <a:r>
                        <a:rPr lang="es-ES" sz="1600" u="none" strike="noStrike" kern="1200">
                          <a:solidFill>
                            <a:srgbClr val="1A507C"/>
                          </a:solidFill>
                          <a:effectLst/>
                          <a:latin typeface="gobCL"/>
                          <a:ea typeface="+mn-ea"/>
                          <a:cs typeface="+mn-cs"/>
                        </a:rPr>
                        <a:t>C1: Presentación a la MSP y redacción y propuesta de un protocolo “tipo” que sirve como base para los protocolos para las propias instituciones públicas</a:t>
                      </a:r>
                    </a:p>
                  </a:txBody>
                  <a:tcPr marL="9525" marR="9525" marT="9525" marB="0">
                    <a:lnL w="0">
                      <a:noFill/>
                    </a:lnL>
                    <a:lnR w="0">
                      <a:noFill/>
                    </a:lnR>
                    <a:lnT w="0">
                      <a:noFill/>
                    </a:lnT>
                    <a:lnB w="0">
                      <a:noFill/>
                    </a:lnB>
                    <a:noFill/>
                  </a:tcPr>
                </a:tc>
                <a:tc>
                  <a:txBody>
                    <a:bodyPr/>
                    <a:lstStyle/>
                    <a:p>
                      <a:pPr algn="l" fontAlgn="b"/>
                      <a:endParaRPr lang="es-CL" sz="14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579461283"/>
                  </a:ext>
                </a:extLst>
              </a:tr>
              <a:tr h="972707">
                <a:tc>
                  <a:txBody>
                    <a:bodyPr/>
                    <a:lstStyle/>
                    <a:p>
                      <a:pPr algn="l" fontAlgn="t"/>
                      <a:r>
                        <a:rPr lang="es-ES" sz="1600" u="none" strike="noStrike" kern="1200">
                          <a:solidFill>
                            <a:srgbClr val="1A507C"/>
                          </a:solidFill>
                          <a:effectLst/>
                          <a:latin typeface="gobCL"/>
                          <a:ea typeface="+mn-ea"/>
                          <a:cs typeface="+mn-cs"/>
                        </a:rPr>
                        <a:t>C2: Definición y socialización de documento con orientaciones de buen trato laboral, incorporando violencia externa y estableciendo modelo estándar de protocolo para ser usado por Servicios Públicos.</a:t>
                      </a:r>
                    </a:p>
                  </a:txBody>
                  <a:tcPr marL="9525" marR="9525" marT="9525" marB="0">
                    <a:lnL w="0">
                      <a:noFill/>
                    </a:lnL>
                    <a:lnR w="0">
                      <a:noFill/>
                    </a:lnR>
                    <a:lnT w="0">
                      <a:noFill/>
                    </a:lnT>
                    <a:lnB w="0">
                      <a:noFill/>
                    </a:lnB>
                    <a:noFill/>
                  </a:tcPr>
                </a:tc>
                <a:tc>
                  <a:txBody>
                    <a:bodyPr/>
                    <a:lstStyle/>
                    <a:p>
                      <a:pPr algn="l" fontAlgn="b"/>
                      <a:endParaRPr lang="es-CL" sz="14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53251977"/>
                  </a:ext>
                </a:extLst>
              </a:tr>
              <a:tr h="841744">
                <a:tc>
                  <a:txBody>
                    <a:bodyPr/>
                    <a:lstStyle/>
                    <a:p>
                      <a:pPr algn="l" fontAlgn="t"/>
                      <a:r>
                        <a:rPr lang="es-ES" sz="1600" u="none" strike="noStrike" kern="1200">
                          <a:solidFill>
                            <a:srgbClr val="1A507C"/>
                          </a:solidFill>
                          <a:effectLst/>
                          <a:latin typeface="gobCL"/>
                          <a:ea typeface="+mn-ea"/>
                          <a:cs typeface="+mn-cs"/>
                        </a:rPr>
                        <a:t>C3: Envío de consulta a servicios y reparticiones públicas, diferenciada por sector y ministerio, para levantar casos y tipos de situaciones.</a:t>
                      </a:r>
                    </a:p>
                  </a:txBody>
                  <a:tcPr marL="9525" marR="9525" marT="9525" marB="0">
                    <a:lnL w="0">
                      <a:noFill/>
                    </a:lnL>
                    <a:lnR w="0">
                      <a:noFill/>
                    </a:lnR>
                    <a:lnT w="0">
                      <a:noFill/>
                    </a:lnT>
                    <a:lnB w="0">
                      <a:noFill/>
                    </a:lnB>
                    <a:noFill/>
                  </a:tcPr>
                </a:tc>
                <a:tc>
                  <a:txBody>
                    <a:bodyPr/>
                    <a:lstStyle/>
                    <a:p>
                      <a:pPr algn="l" fontAlgn="b"/>
                      <a:endParaRPr lang="es-CL" sz="14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2393037315"/>
                  </a:ext>
                </a:extLst>
              </a:tr>
              <a:tr h="832883">
                <a:tc>
                  <a:txBody>
                    <a:bodyPr/>
                    <a:lstStyle/>
                    <a:p>
                      <a:pPr algn="l" fontAlgn="t"/>
                      <a:r>
                        <a:rPr lang="es-ES" sz="1600" u="none" strike="noStrike" kern="1200">
                          <a:solidFill>
                            <a:srgbClr val="1A507C"/>
                          </a:solidFill>
                          <a:effectLst/>
                          <a:latin typeface="gobCL"/>
                          <a:ea typeface="+mn-ea"/>
                          <a:cs typeface="+mn-cs"/>
                        </a:rPr>
                        <a:t>C4: Generación de material gráfico (infografías) con aproximación conceptual y mecanismos de acción ante violencia externa, sumado a presentación tipo (PPT) para uso de los servicios públicos.</a:t>
                      </a:r>
                    </a:p>
                  </a:txBody>
                  <a:tcPr marL="9525" marR="9525" marT="9525" marB="0">
                    <a:lnL w="0">
                      <a:noFill/>
                    </a:lnL>
                    <a:lnR w="0">
                      <a:noFill/>
                    </a:lnR>
                    <a:lnT w="0">
                      <a:noFill/>
                    </a:lnT>
                    <a:lnB w="0">
                      <a:noFill/>
                    </a:lnB>
                    <a:noFill/>
                  </a:tcPr>
                </a:tc>
                <a:tc>
                  <a:txBody>
                    <a:bodyPr/>
                    <a:lstStyle/>
                    <a:p>
                      <a:pPr algn="l" fontAlgn="b"/>
                      <a:endParaRPr lang="es-CL" sz="14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300231672"/>
                  </a:ext>
                </a:extLst>
              </a:tr>
              <a:tr h="558209">
                <a:tc>
                  <a:txBody>
                    <a:bodyPr/>
                    <a:lstStyle/>
                    <a:p>
                      <a:pPr algn="l" fontAlgn="t"/>
                      <a:r>
                        <a:rPr lang="es-ES" sz="1600" u="none" strike="noStrike" kern="1200">
                          <a:solidFill>
                            <a:srgbClr val="1A507C"/>
                          </a:solidFill>
                          <a:effectLst/>
                          <a:latin typeface="gobCL"/>
                          <a:ea typeface="+mn-ea"/>
                          <a:cs typeface="+mn-cs"/>
                        </a:rPr>
                        <a:t>C5: Curso de Calidad de Servicio en desarrollo para 2024, según disponibilidad de recursos.</a:t>
                      </a:r>
                    </a:p>
                    <a:p>
                      <a:pPr lvl="0" algn="l">
                        <a:buNone/>
                      </a:pPr>
                      <a:endParaRPr lang="es-ES" sz="1600" u="none" strike="noStrike" kern="1200">
                        <a:solidFill>
                          <a:srgbClr val="1A507C"/>
                        </a:solidFill>
                        <a:effectLst/>
                        <a:latin typeface="gobCL"/>
                        <a:ea typeface="+mn-ea"/>
                        <a:cs typeface="+mn-cs"/>
                      </a:endParaRPr>
                    </a:p>
                  </a:txBody>
                  <a:tcPr marL="9525" marR="9525" marT="9525" marB="0">
                    <a:lnL w="0">
                      <a:noFill/>
                    </a:lnL>
                    <a:lnR w="0">
                      <a:noFill/>
                    </a:lnR>
                    <a:lnT w="0">
                      <a:noFill/>
                    </a:lnT>
                    <a:lnB w="0">
                      <a:noFill/>
                    </a:lnB>
                    <a:noFill/>
                  </a:tcPr>
                </a:tc>
                <a:tc>
                  <a:txBody>
                    <a:bodyPr/>
                    <a:lstStyle/>
                    <a:p>
                      <a:pPr algn="l" fontAlgn="b"/>
                      <a:endParaRPr lang="es-CL" sz="14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902931934"/>
                  </a:ext>
                </a:extLst>
              </a:tr>
              <a:tr h="456508">
                <a:tc>
                  <a:txBody>
                    <a:bodyPr/>
                    <a:lstStyle/>
                    <a:p>
                      <a:pPr algn="l" fontAlgn="t"/>
                      <a:r>
                        <a:rPr lang="es-ES" sz="1600" u="none" strike="noStrike" kern="1200">
                          <a:solidFill>
                            <a:srgbClr val="1A507C"/>
                          </a:solidFill>
                          <a:effectLst/>
                          <a:latin typeface="gobCL"/>
                          <a:ea typeface="+mn-ea"/>
                          <a:cs typeface="+mn-cs"/>
                        </a:rPr>
                        <a:t>C6: Instalación de mesa de monitoreo, seguimiento y levantamiento de casuística aplicada. </a:t>
                      </a:r>
                    </a:p>
                  </a:txBody>
                  <a:tcPr marL="9525" marR="9525" marT="9525" marB="0">
                    <a:lnL w="0">
                      <a:noFill/>
                    </a:lnL>
                    <a:lnR w="0">
                      <a:noFill/>
                    </a:lnR>
                    <a:lnT w="0">
                      <a:noFill/>
                    </a:lnT>
                    <a:lnB w="0">
                      <a:noFill/>
                    </a:lnB>
                    <a:noFill/>
                  </a:tcPr>
                </a:tc>
                <a:tc>
                  <a:txBody>
                    <a:bodyPr/>
                    <a:lstStyle/>
                    <a:p>
                      <a:pPr algn="l" fontAlgn="b"/>
                      <a:endParaRPr lang="es-CL" sz="14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1310687149"/>
                  </a:ext>
                </a:extLst>
              </a:tr>
            </a:tbl>
          </a:graphicData>
        </a:graphic>
      </p:graphicFrame>
      <p:pic>
        <p:nvPicPr>
          <p:cNvPr id="26" name="Gráfico 25" descr="Harvey Balls 100% con relleno sólido">
            <a:extLst>
              <a:ext uri="{FF2B5EF4-FFF2-40B4-BE49-F238E27FC236}">
                <a16:creationId xmlns:a16="http://schemas.microsoft.com/office/drawing/2014/main" id="{E0A5C576-FD49-CB18-63D9-45C93AACFF7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350896" y="1730935"/>
            <a:ext cx="351110" cy="351110"/>
          </a:xfrm>
          <a:prstGeom prst="rect">
            <a:avLst/>
          </a:prstGeom>
        </p:spPr>
      </p:pic>
      <p:pic>
        <p:nvPicPr>
          <p:cNvPr id="27" name="Gráfico 26" descr="Harvey Balls 100% con relleno sólido">
            <a:extLst>
              <a:ext uri="{FF2B5EF4-FFF2-40B4-BE49-F238E27FC236}">
                <a16:creationId xmlns:a16="http://schemas.microsoft.com/office/drawing/2014/main" id="{6C268E0B-DCC0-DF50-1DB1-D7806FE1CFC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350896" y="2419412"/>
            <a:ext cx="351110" cy="351110"/>
          </a:xfrm>
          <a:prstGeom prst="rect">
            <a:avLst/>
          </a:prstGeom>
        </p:spPr>
      </p:pic>
      <p:pic>
        <p:nvPicPr>
          <p:cNvPr id="29" name="Gráfico 28" descr="Harvey Balls 100% con relleno sólido">
            <a:extLst>
              <a:ext uri="{FF2B5EF4-FFF2-40B4-BE49-F238E27FC236}">
                <a16:creationId xmlns:a16="http://schemas.microsoft.com/office/drawing/2014/main" id="{11FBF7D3-FD7E-5ACC-58F1-5E77F4E82E9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350896" y="3358855"/>
            <a:ext cx="351110" cy="351110"/>
          </a:xfrm>
          <a:prstGeom prst="rect">
            <a:avLst/>
          </a:prstGeom>
        </p:spPr>
      </p:pic>
      <p:pic>
        <p:nvPicPr>
          <p:cNvPr id="7" name="Gráfico 26" descr="Harvey Balls 100% con relleno sólido">
            <a:extLst>
              <a:ext uri="{FF2B5EF4-FFF2-40B4-BE49-F238E27FC236}">
                <a16:creationId xmlns:a16="http://schemas.microsoft.com/office/drawing/2014/main" id="{B7779191-5077-D933-FB80-82C64489F30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350896" y="4953661"/>
            <a:ext cx="351110" cy="351110"/>
          </a:xfrm>
          <a:prstGeom prst="rect">
            <a:avLst/>
          </a:prstGeom>
        </p:spPr>
      </p:pic>
      <p:pic>
        <p:nvPicPr>
          <p:cNvPr id="8" name="Gráfico 26" descr="Harvey Balls 100% con relleno sólido">
            <a:extLst>
              <a:ext uri="{FF2B5EF4-FFF2-40B4-BE49-F238E27FC236}">
                <a16:creationId xmlns:a16="http://schemas.microsoft.com/office/drawing/2014/main" id="{3D02FF1D-213D-BD36-563F-84C85B6D20A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350896" y="4189773"/>
            <a:ext cx="351110" cy="351110"/>
          </a:xfrm>
          <a:prstGeom prst="rect">
            <a:avLst/>
          </a:prstGeom>
        </p:spPr>
      </p:pic>
      <p:pic>
        <p:nvPicPr>
          <p:cNvPr id="9" name="Gráfico 26" descr="Harvey Balls 100% con relleno sólido">
            <a:extLst>
              <a:ext uri="{FF2B5EF4-FFF2-40B4-BE49-F238E27FC236}">
                <a16:creationId xmlns:a16="http://schemas.microsoft.com/office/drawing/2014/main" id="{D9985B40-99BB-40DC-B0CA-077F25997DF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350896" y="5511284"/>
            <a:ext cx="351110" cy="351110"/>
          </a:xfrm>
          <a:prstGeom prst="rect">
            <a:avLst/>
          </a:prstGeom>
        </p:spPr>
      </p:pic>
    </p:spTree>
    <p:extLst>
      <p:ext uri="{BB962C8B-B14F-4D97-AF65-F5344CB8AC3E}">
        <p14:creationId xmlns:p14="http://schemas.microsoft.com/office/powerpoint/2010/main" val="187374461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66AE1B3-A580-482F-9F24-45B1B9245A2F}"/>
              </a:ext>
            </a:extLst>
          </p:cNvPr>
          <p:cNvSpPr>
            <a:spLocks noGrp="1"/>
          </p:cNvSpPr>
          <p:nvPr>
            <p:ph type="title"/>
          </p:nvPr>
        </p:nvSpPr>
        <p:spPr>
          <a:xfrm>
            <a:off x="522088" y="279770"/>
            <a:ext cx="10515600" cy="639586"/>
          </a:xfrm>
        </p:spPr>
        <p:txBody>
          <a:bodyPr>
            <a:normAutofit/>
          </a:bodyPr>
          <a:lstStyle/>
          <a:p>
            <a:r>
              <a:rPr lang="es-ES" sz="2800" b="1">
                <a:solidFill>
                  <a:srgbClr val="1A507C"/>
                </a:solidFill>
                <a:latin typeface="gobCL"/>
                <a:ea typeface="+mn-ea"/>
                <a:cs typeface="+mn-cs"/>
              </a:rPr>
              <a:t>Mesas Transversales</a:t>
            </a:r>
            <a:endParaRPr lang="es-CL" sz="2800" b="1">
              <a:solidFill>
                <a:srgbClr val="1A507C"/>
              </a:solidFill>
              <a:latin typeface="gobCL"/>
              <a:ea typeface="+mn-ea"/>
              <a:cs typeface="+mn-cs"/>
            </a:endParaRPr>
          </a:p>
        </p:txBody>
      </p:sp>
      <p:sp>
        <p:nvSpPr>
          <p:cNvPr id="5" name="Elipse 4">
            <a:extLst>
              <a:ext uri="{FF2B5EF4-FFF2-40B4-BE49-F238E27FC236}">
                <a16:creationId xmlns:a16="http://schemas.microsoft.com/office/drawing/2014/main" id="{C75B7C43-8DF4-4FF8-CDAA-78D79794023C}"/>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 name="Marcador de número de diapositiva 2">
            <a:extLst>
              <a:ext uri="{FF2B5EF4-FFF2-40B4-BE49-F238E27FC236}">
                <a16:creationId xmlns:a16="http://schemas.microsoft.com/office/drawing/2014/main" id="{EFE71632-71DE-2A54-64EA-E99EEEC99809}"/>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41</a:t>
            </a:fld>
            <a:endParaRPr lang="en-US" b="1">
              <a:solidFill>
                <a:schemeClr val="bg1"/>
              </a:solidFill>
              <a:latin typeface="Calibri"/>
              <a:ea typeface="ヒラギノ角ゴ Pro W3"/>
              <a:cs typeface="Calibri"/>
            </a:endParaRPr>
          </a:p>
        </p:txBody>
      </p:sp>
      <p:graphicFrame>
        <p:nvGraphicFramePr>
          <p:cNvPr id="3" name="Tabla 2">
            <a:extLst>
              <a:ext uri="{FF2B5EF4-FFF2-40B4-BE49-F238E27FC236}">
                <a16:creationId xmlns:a16="http://schemas.microsoft.com/office/drawing/2014/main" id="{9220FDDA-5187-89D4-426E-54589DFC76B5}"/>
              </a:ext>
            </a:extLst>
          </p:cNvPr>
          <p:cNvGraphicFramePr>
            <a:graphicFrameLocks noGrp="1"/>
          </p:cNvGraphicFramePr>
          <p:nvPr/>
        </p:nvGraphicFramePr>
        <p:xfrm>
          <a:off x="605726" y="1388567"/>
          <a:ext cx="10299341" cy="5002748"/>
        </p:xfrm>
        <a:graphic>
          <a:graphicData uri="http://schemas.openxmlformats.org/drawingml/2006/table">
            <a:tbl>
              <a:tblPr firstRow="1" bandRow="1">
                <a:tableStyleId>{B301B821-A1FF-4177-AEE7-76D212191A09}</a:tableStyleId>
              </a:tblPr>
              <a:tblGrid>
                <a:gridCol w="9677307">
                  <a:extLst>
                    <a:ext uri="{9D8B030D-6E8A-4147-A177-3AD203B41FA5}">
                      <a16:colId xmlns:a16="http://schemas.microsoft.com/office/drawing/2014/main" val="265563881"/>
                    </a:ext>
                  </a:extLst>
                </a:gridCol>
                <a:gridCol w="622034">
                  <a:extLst>
                    <a:ext uri="{9D8B030D-6E8A-4147-A177-3AD203B41FA5}">
                      <a16:colId xmlns:a16="http://schemas.microsoft.com/office/drawing/2014/main" val="701581697"/>
                    </a:ext>
                  </a:extLst>
                </a:gridCol>
              </a:tblGrid>
              <a:tr h="400563">
                <a:tc>
                  <a:txBody>
                    <a:bodyPr/>
                    <a:lstStyle/>
                    <a:p>
                      <a:pPr algn="ctr" fontAlgn="b"/>
                      <a:r>
                        <a:rPr lang="es-ES" sz="1800" u="none" strike="noStrike">
                          <a:effectLst/>
                          <a:latin typeface="gobCL"/>
                        </a:rPr>
                        <a:t>SEGURIDAD FUNCIONARIA</a:t>
                      </a:r>
                      <a:endParaRPr lang="es-CL" sz="1800" u="none" strike="noStrike">
                        <a:effectLst/>
                        <a:latin typeface="gobCL"/>
                      </a:endParaRPr>
                    </a:p>
                  </a:txBody>
                  <a:tcPr marL="8601" marR="8601" marT="8601" marB="0" anchor="ctr">
                    <a:lnL w="0">
                      <a:noFill/>
                    </a:lnL>
                    <a:lnR w="0">
                      <a:noFill/>
                    </a:lnR>
                    <a:lnT w="0">
                      <a:noFill/>
                    </a:lnT>
                    <a:lnB w="0">
                      <a:noFill/>
                    </a:lnB>
                    <a:solidFill>
                      <a:srgbClr val="004677"/>
                    </a:solidFill>
                  </a:tcPr>
                </a:tc>
                <a:tc>
                  <a:txBody>
                    <a:bodyPr/>
                    <a:lstStyle/>
                    <a:p>
                      <a:pPr algn="ctr" fontAlgn="b"/>
                      <a:endParaRPr lang="es-CL" sz="1400" u="none" strike="noStrike">
                        <a:effectLst/>
                        <a:latin typeface="gobCL" pitchFamily="50" charset="0"/>
                      </a:endParaRPr>
                    </a:p>
                  </a:txBody>
                  <a:tcPr marL="8601" marR="8601" marT="8601" marB="0" anchor="ctr">
                    <a:lnL w="0">
                      <a:noFill/>
                    </a:lnL>
                    <a:lnR w="0">
                      <a:noFill/>
                    </a:lnR>
                    <a:lnT w="0">
                      <a:noFill/>
                    </a:lnT>
                    <a:lnB w="0">
                      <a:noFill/>
                    </a:lnB>
                    <a:solidFill>
                      <a:srgbClr val="004677"/>
                    </a:solidFill>
                  </a:tcPr>
                </a:tc>
                <a:extLst>
                  <a:ext uri="{0D108BD9-81ED-4DB2-BD59-A6C34878D82A}">
                    <a16:rowId xmlns:a16="http://schemas.microsoft.com/office/drawing/2014/main" val="421966448"/>
                  </a:ext>
                </a:extLst>
              </a:tr>
              <a:tr h="693221">
                <a:tc>
                  <a:txBody>
                    <a:bodyPr/>
                    <a:lstStyle/>
                    <a:p>
                      <a:pPr algn="l" fontAlgn="t"/>
                      <a:r>
                        <a:rPr lang="es-ES" sz="1600" u="none" strike="noStrike" kern="1200">
                          <a:solidFill>
                            <a:srgbClr val="1A507C"/>
                          </a:solidFill>
                          <a:effectLst/>
                          <a:latin typeface="gobCL"/>
                          <a:ea typeface="+mn-ea"/>
                          <a:cs typeface="+mn-cs"/>
                        </a:rPr>
                        <a:t>C7: Evaluación de la Ley 21.188 para identificar brechas, desafíos y la pertinencia de su eventual ampliación a otros servicios del sector público.</a:t>
                      </a:r>
                    </a:p>
                  </a:txBody>
                  <a:tcPr marL="9525" marR="9525" marT="9525" marB="0" anchor="ctr">
                    <a:lnL w="0">
                      <a:noFill/>
                    </a:lnL>
                    <a:lnR w="0">
                      <a:noFill/>
                    </a:lnR>
                    <a:lnT w="0">
                      <a:noFill/>
                    </a:lnT>
                    <a:lnB w="0">
                      <a:noFill/>
                    </a:lnB>
                    <a:noFill/>
                  </a:tcPr>
                </a:tc>
                <a:tc>
                  <a:txBody>
                    <a:bodyPr/>
                    <a:lstStyle/>
                    <a:p>
                      <a:pPr algn="l" fontAlgn="b"/>
                      <a:endParaRPr lang="es-CL" sz="14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4185762679"/>
                  </a:ext>
                </a:extLst>
              </a:tr>
              <a:tr h="396316">
                <a:tc>
                  <a:txBody>
                    <a:bodyPr/>
                    <a:lstStyle/>
                    <a:p>
                      <a:pPr algn="l" fontAlgn="t"/>
                      <a:r>
                        <a:rPr lang="es-ES" sz="1600" u="none" strike="noStrike" kern="1200">
                          <a:solidFill>
                            <a:srgbClr val="1A507C"/>
                          </a:solidFill>
                          <a:effectLst/>
                          <a:latin typeface="gobCL"/>
                          <a:ea typeface="+mn-ea"/>
                          <a:cs typeface="+mn-cs"/>
                        </a:rPr>
                        <a:t>C8: Dar continuidad a las actividades de difusión que se han realizado a funcionarias y funcionarios públicos.</a:t>
                      </a:r>
                    </a:p>
                  </a:txBody>
                  <a:tcPr marL="9525" marR="9525" marT="9525" marB="0" anchor="ctr">
                    <a:lnL w="0">
                      <a:noFill/>
                    </a:lnL>
                    <a:lnR w="0">
                      <a:noFill/>
                    </a:lnR>
                    <a:lnT w="0">
                      <a:noFill/>
                    </a:lnT>
                    <a:lnB w="0">
                      <a:noFill/>
                    </a:lnB>
                    <a:noFill/>
                  </a:tcPr>
                </a:tc>
                <a:tc>
                  <a:txBody>
                    <a:bodyPr/>
                    <a:lstStyle/>
                    <a:p>
                      <a:pPr algn="l" fontAlgn="b"/>
                      <a:endParaRPr lang="es-CL" sz="14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2702772006"/>
                  </a:ext>
                </a:extLst>
              </a:tr>
              <a:tr h="417890">
                <a:tc>
                  <a:txBody>
                    <a:bodyPr/>
                    <a:lstStyle/>
                    <a:p>
                      <a:pPr algn="l" fontAlgn="t"/>
                      <a:r>
                        <a:rPr lang="es-ES" sz="1600" u="none" strike="noStrike" kern="1200">
                          <a:solidFill>
                            <a:srgbClr val="1A507C"/>
                          </a:solidFill>
                          <a:effectLst/>
                          <a:latin typeface="gobCL"/>
                          <a:ea typeface="+mn-ea"/>
                          <a:cs typeface="+mn-cs"/>
                        </a:rPr>
                        <a:t>C9: Elaboración de protocolo entre Programa de Apoyo a Víctimas y Redes Asistenciales. </a:t>
                      </a:r>
                    </a:p>
                  </a:txBody>
                  <a:tcPr marL="9525" marR="9525" marT="9525" marB="0" anchor="ctr">
                    <a:lnL w="0">
                      <a:noFill/>
                    </a:lnL>
                    <a:lnR w="0">
                      <a:noFill/>
                    </a:lnR>
                    <a:lnT w="0">
                      <a:noFill/>
                    </a:lnT>
                    <a:lnB w="0">
                      <a:noFill/>
                    </a:lnB>
                    <a:noFill/>
                  </a:tcPr>
                </a:tc>
                <a:tc>
                  <a:txBody>
                    <a:bodyPr/>
                    <a:lstStyle/>
                    <a:p>
                      <a:pPr algn="l" fontAlgn="b"/>
                      <a:endParaRPr lang="es-CL" sz="14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2598984220"/>
                  </a:ext>
                </a:extLst>
              </a:tr>
              <a:tr h="415436">
                <a:tc>
                  <a:txBody>
                    <a:bodyPr/>
                    <a:lstStyle/>
                    <a:p>
                      <a:pPr algn="l" fontAlgn="t"/>
                      <a:r>
                        <a:rPr lang="es-CL" sz="1600" u="none" strike="noStrike" kern="1200">
                          <a:solidFill>
                            <a:srgbClr val="1A507C"/>
                          </a:solidFill>
                          <a:effectLst/>
                          <a:latin typeface="gobCL"/>
                          <a:ea typeface="+mn-ea"/>
                          <a:cs typeface="+mn-cs"/>
                        </a:rPr>
                        <a:t>C10: Actividades de difusión PAV.</a:t>
                      </a:r>
                    </a:p>
                  </a:txBody>
                  <a:tcPr marL="9525" marR="9525" marT="9525" marB="0" anchor="ctr">
                    <a:lnL w="0">
                      <a:noFill/>
                    </a:lnL>
                    <a:lnR w="0">
                      <a:noFill/>
                    </a:lnR>
                    <a:lnT w="0">
                      <a:noFill/>
                    </a:lnT>
                    <a:lnB w="0">
                      <a:noFill/>
                    </a:lnB>
                    <a:noFill/>
                  </a:tcPr>
                </a:tc>
                <a:tc>
                  <a:txBody>
                    <a:bodyPr/>
                    <a:lstStyle/>
                    <a:p>
                      <a:pPr algn="l" fontAlgn="b"/>
                      <a:endParaRPr lang="es-CL" sz="14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2374819696"/>
                  </a:ext>
                </a:extLst>
              </a:tr>
              <a:tr h="926895">
                <a:tc>
                  <a:txBody>
                    <a:bodyPr/>
                    <a:lstStyle/>
                    <a:p>
                      <a:pPr algn="l" fontAlgn="t"/>
                      <a:r>
                        <a:rPr lang="es-ES" sz="1600" u="none" strike="noStrike" kern="1200">
                          <a:solidFill>
                            <a:srgbClr val="1A507C"/>
                          </a:solidFill>
                          <a:effectLst/>
                          <a:latin typeface="gobCL"/>
                          <a:ea typeface="+mn-ea"/>
                          <a:cs typeface="+mn-cs"/>
                        </a:rPr>
                        <a:t>C11: Asistencia técnica y jornadas participativas para identificación de problemas de seguridad en establecimientos de salud, para aportar a diagnóstico para inversión de presupuesto destinado por MINSAL para seguridad en infraestructura.</a:t>
                      </a:r>
                    </a:p>
                  </a:txBody>
                  <a:tcPr marL="9525" marR="9525" marT="9525" marB="0" anchor="ctr">
                    <a:lnL w="0">
                      <a:noFill/>
                    </a:lnL>
                    <a:lnR w="0">
                      <a:noFill/>
                    </a:lnR>
                    <a:lnT w="0">
                      <a:noFill/>
                    </a:lnT>
                    <a:lnB w="0">
                      <a:noFill/>
                    </a:lnB>
                    <a:noFill/>
                  </a:tcPr>
                </a:tc>
                <a:tc>
                  <a:txBody>
                    <a:bodyPr/>
                    <a:lstStyle/>
                    <a:p>
                      <a:pPr algn="l" fontAlgn="b"/>
                      <a:endParaRPr lang="es-CL" sz="14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931893654"/>
                  </a:ext>
                </a:extLst>
              </a:tr>
              <a:tr h="8739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s-ES" sz="1600" u="none" strike="noStrike" kern="1200">
                          <a:solidFill>
                            <a:srgbClr val="1A507C"/>
                          </a:solidFill>
                          <a:effectLst/>
                          <a:latin typeface="gobCL"/>
                          <a:ea typeface="+mn-ea"/>
                          <a:cs typeface="+mn-cs"/>
                        </a:rPr>
                        <a:t>C12: El MINSAL con el apoyo técnico de la Subsecretaría de Prevención del Delito instruirá la instalación 3 de mesas de seguridad en todos los Servicios de Salud y se priorizará la instalación de las mismas, en los respectivos establecimientos.</a:t>
                      </a:r>
                    </a:p>
                  </a:txBody>
                  <a:tcPr marL="9525" marR="9525" marT="9525" marB="0" anchor="ctr">
                    <a:lnL w="0">
                      <a:noFill/>
                    </a:lnL>
                    <a:lnR w="0">
                      <a:noFill/>
                    </a:lnR>
                    <a:lnT w="0">
                      <a:noFill/>
                    </a:lnT>
                    <a:lnB w="0">
                      <a:noFill/>
                    </a:lnB>
                    <a:noFill/>
                  </a:tcPr>
                </a:tc>
                <a:tc>
                  <a:txBody>
                    <a:bodyPr/>
                    <a:lstStyle/>
                    <a:p>
                      <a:pPr algn="l" fontAlgn="b"/>
                      <a:endParaRPr lang="es-CL" sz="14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606193425"/>
                  </a:ext>
                </a:extLst>
              </a:tr>
              <a:tr h="878449">
                <a:tc>
                  <a:txBody>
                    <a:bodyPr/>
                    <a:lstStyle/>
                    <a:p>
                      <a:pPr lvl="0" algn="l">
                        <a:buNone/>
                      </a:pPr>
                      <a:r>
                        <a:rPr lang="es-ES" sz="1600" b="0" i="0" u="none" strike="noStrike" kern="1200" baseline="0" noProof="0">
                          <a:solidFill>
                            <a:srgbClr val="1A507C"/>
                          </a:solidFill>
                          <a:effectLst/>
                          <a:latin typeface="gobCL"/>
                        </a:rPr>
                        <a:t>C 13: Instructivo general relativo a las medidas que permitan mejorar los niveles de seguridad para los funcionarios públicos y las que instruyan para la constitución de mesas de seguridad funcionaria en los servicios públicos esta en revisión .</a:t>
                      </a:r>
                      <a:endParaRPr lang="en-US" sz="1600"/>
                    </a:p>
                  </a:txBody>
                  <a:tcPr marL="9525" marR="9525" marT="9525" marB="0" anchor="ctr">
                    <a:lnL w="0">
                      <a:noFill/>
                    </a:lnL>
                    <a:lnR w="0">
                      <a:noFill/>
                    </a:lnR>
                    <a:lnT w="0">
                      <a:noFill/>
                    </a:lnT>
                    <a:lnB w="0">
                      <a:noFill/>
                    </a:lnB>
                    <a:noFill/>
                  </a:tcPr>
                </a:tc>
                <a:tc>
                  <a:txBody>
                    <a:bodyPr/>
                    <a:lstStyle/>
                    <a:p>
                      <a:pPr algn="l" fontAlgn="b"/>
                      <a:endParaRPr lang="es-CL" sz="14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3536687928"/>
                  </a:ext>
                </a:extLst>
              </a:tr>
            </a:tbl>
          </a:graphicData>
        </a:graphic>
      </p:graphicFrame>
      <p:grpSp>
        <p:nvGrpSpPr>
          <p:cNvPr id="19" name="Grupo 18">
            <a:extLst>
              <a:ext uri="{FF2B5EF4-FFF2-40B4-BE49-F238E27FC236}">
                <a16:creationId xmlns:a16="http://schemas.microsoft.com/office/drawing/2014/main" id="{512FE3F2-F785-3921-C479-9CF46A9ACCFF}"/>
              </a:ext>
            </a:extLst>
          </p:cNvPr>
          <p:cNvGrpSpPr/>
          <p:nvPr/>
        </p:nvGrpSpPr>
        <p:grpSpPr>
          <a:xfrm>
            <a:off x="8486731" y="109828"/>
            <a:ext cx="1613258" cy="830802"/>
            <a:chOff x="9242105" y="249597"/>
            <a:chExt cx="1613258" cy="830802"/>
          </a:xfrm>
        </p:grpSpPr>
        <p:pic>
          <p:nvPicPr>
            <p:cNvPr id="20" name="Gráfico 19" descr="Harvey Balls 100% con relleno sólido">
              <a:extLst>
                <a:ext uri="{FF2B5EF4-FFF2-40B4-BE49-F238E27FC236}">
                  <a16:creationId xmlns:a16="http://schemas.microsoft.com/office/drawing/2014/main" id="{C0694162-2FF4-CD15-70BA-F1936E51FC0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42105" y="533241"/>
              <a:ext cx="250031" cy="250031"/>
            </a:xfrm>
            <a:prstGeom prst="rect">
              <a:avLst/>
            </a:prstGeom>
          </p:spPr>
        </p:pic>
        <p:sp>
          <p:nvSpPr>
            <p:cNvPr id="21" name="CuadroTexto 20">
              <a:extLst>
                <a:ext uri="{FF2B5EF4-FFF2-40B4-BE49-F238E27FC236}">
                  <a16:creationId xmlns:a16="http://schemas.microsoft.com/office/drawing/2014/main" id="{E11A4F48-EA07-DBDA-556D-A099E9CE236D}"/>
                </a:ext>
              </a:extLst>
            </p:cNvPr>
            <p:cNvSpPr txBox="1"/>
            <p:nvPr/>
          </p:nvSpPr>
          <p:spPr>
            <a:xfrm>
              <a:off x="9492136" y="251101"/>
              <a:ext cx="1363227" cy="276999"/>
            </a:xfrm>
            <a:prstGeom prst="rect">
              <a:avLst/>
            </a:prstGeom>
            <a:noFill/>
          </p:spPr>
          <p:txBody>
            <a:bodyPr wrap="square">
              <a:spAutoFit/>
            </a:bodyPr>
            <a:lstStyle/>
            <a:p>
              <a:r>
                <a:rPr lang="es-CL" sz="1200">
                  <a:solidFill>
                    <a:schemeClr val="bg2">
                      <a:lumMod val="25000"/>
                    </a:schemeClr>
                  </a:solidFill>
                  <a:latin typeface="gobCL"/>
                </a:rPr>
                <a:t>Completado</a:t>
              </a:r>
            </a:p>
          </p:txBody>
        </p:sp>
        <p:sp>
          <p:nvSpPr>
            <p:cNvPr id="22" name="CuadroTexto 21">
              <a:extLst>
                <a:ext uri="{FF2B5EF4-FFF2-40B4-BE49-F238E27FC236}">
                  <a16:creationId xmlns:a16="http://schemas.microsoft.com/office/drawing/2014/main" id="{EEE776FA-2D7D-6529-E65D-A964FA2544AD}"/>
                </a:ext>
              </a:extLst>
            </p:cNvPr>
            <p:cNvSpPr txBox="1"/>
            <p:nvPr/>
          </p:nvSpPr>
          <p:spPr>
            <a:xfrm>
              <a:off x="9492136" y="511862"/>
              <a:ext cx="1363227" cy="307777"/>
            </a:xfrm>
            <a:prstGeom prst="rect">
              <a:avLst/>
            </a:prstGeom>
            <a:noFill/>
          </p:spPr>
          <p:txBody>
            <a:bodyPr wrap="square">
              <a:spAutoFit/>
            </a:bodyPr>
            <a:lstStyle/>
            <a:p>
              <a:r>
                <a:rPr lang="es-CL" sz="1200">
                  <a:solidFill>
                    <a:schemeClr val="bg2">
                      <a:lumMod val="25000"/>
                    </a:schemeClr>
                  </a:solidFill>
                  <a:latin typeface="gobCL"/>
                </a:rPr>
                <a:t>En</a:t>
              </a:r>
              <a:r>
                <a:rPr lang="es-CL" sz="1400" b="0" i="0" u="none" strike="noStrike">
                  <a:solidFill>
                    <a:schemeClr val="bg2">
                      <a:lumMod val="25000"/>
                    </a:schemeClr>
                  </a:solidFill>
                  <a:effectLst/>
                  <a:latin typeface="gobCL"/>
                </a:rPr>
                <a:t> </a:t>
              </a:r>
              <a:r>
                <a:rPr lang="es-CL" sz="1200">
                  <a:solidFill>
                    <a:schemeClr val="bg2">
                      <a:lumMod val="25000"/>
                    </a:schemeClr>
                  </a:solidFill>
                  <a:latin typeface="gobCL"/>
                </a:rPr>
                <a:t>proceso</a:t>
              </a:r>
            </a:p>
          </p:txBody>
        </p:sp>
        <p:sp>
          <p:nvSpPr>
            <p:cNvPr id="23" name="CuadroTexto 22">
              <a:extLst>
                <a:ext uri="{FF2B5EF4-FFF2-40B4-BE49-F238E27FC236}">
                  <a16:creationId xmlns:a16="http://schemas.microsoft.com/office/drawing/2014/main" id="{9F84EF97-25ED-4B94-047F-F8864E1F7B81}"/>
                </a:ext>
              </a:extLst>
            </p:cNvPr>
            <p:cNvSpPr txBox="1"/>
            <p:nvPr/>
          </p:nvSpPr>
          <p:spPr>
            <a:xfrm>
              <a:off x="9492136" y="803400"/>
              <a:ext cx="1363227" cy="276999"/>
            </a:xfrm>
            <a:prstGeom prst="rect">
              <a:avLst/>
            </a:prstGeom>
            <a:noFill/>
          </p:spPr>
          <p:txBody>
            <a:bodyPr wrap="square">
              <a:spAutoFit/>
            </a:bodyPr>
            <a:lstStyle/>
            <a:p>
              <a:r>
                <a:rPr lang="es-CL" sz="1200">
                  <a:solidFill>
                    <a:schemeClr val="bg2">
                      <a:lumMod val="25000"/>
                    </a:schemeClr>
                  </a:solidFill>
                  <a:latin typeface="gobCL"/>
                </a:rPr>
                <a:t>Pendiente</a:t>
              </a:r>
            </a:p>
          </p:txBody>
        </p:sp>
        <p:pic>
          <p:nvPicPr>
            <p:cNvPr id="24" name="Gráfico 23" descr="Harvey Balls 100% con relleno sólido">
              <a:extLst>
                <a:ext uri="{FF2B5EF4-FFF2-40B4-BE49-F238E27FC236}">
                  <a16:creationId xmlns:a16="http://schemas.microsoft.com/office/drawing/2014/main" id="{9A476951-C11C-FFDC-F358-6138F9A47C3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42105" y="816885"/>
              <a:ext cx="250031" cy="250031"/>
            </a:xfrm>
            <a:prstGeom prst="rect">
              <a:avLst/>
            </a:prstGeom>
          </p:spPr>
        </p:pic>
        <p:pic>
          <p:nvPicPr>
            <p:cNvPr id="25" name="Gráfico 24" descr="Harvey Balls 100% con relleno sólido">
              <a:extLst>
                <a:ext uri="{FF2B5EF4-FFF2-40B4-BE49-F238E27FC236}">
                  <a16:creationId xmlns:a16="http://schemas.microsoft.com/office/drawing/2014/main" id="{2016EEA6-A89B-1FA6-323D-3CDEABB363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242105" y="249597"/>
              <a:ext cx="250031" cy="250031"/>
            </a:xfrm>
            <a:prstGeom prst="rect">
              <a:avLst/>
            </a:prstGeom>
          </p:spPr>
        </p:pic>
      </p:grpSp>
      <p:pic>
        <p:nvPicPr>
          <p:cNvPr id="28" name="Gráfico 27" descr="Harvey Balls 100% con relleno sólido">
            <a:extLst>
              <a:ext uri="{FF2B5EF4-FFF2-40B4-BE49-F238E27FC236}">
                <a16:creationId xmlns:a16="http://schemas.microsoft.com/office/drawing/2014/main" id="{828A58F4-3151-F364-004C-8380B0CE5C2F}"/>
              </a:ext>
            </a:extLst>
          </p:cNvPr>
          <p:cNvPicPr>
            <a:picLocks noChangeAspect="1"/>
          </p:cNvPicPr>
          <p:nvPr/>
        </p:nvPicPr>
        <p:blipFill>
          <a:blip r:embed="rId6">
            <a:extLst>
              <a:ext uri="{96DAC541-7B7A-43D3-8B79-37D633B846F1}">
                <asvg:svgBlip xmlns:asvg="http://schemas.microsoft.com/office/drawing/2016/SVG/main" r:embed="rId8"/>
              </a:ext>
            </a:extLst>
          </a:blip>
          <a:stretch>
            <a:fillRect/>
          </a:stretch>
        </p:blipFill>
        <p:spPr>
          <a:xfrm>
            <a:off x="10357555" y="2555457"/>
            <a:ext cx="351110" cy="351110"/>
          </a:xfrm>
          <a:prstGeom prst="rect">
            <a:avLst/>
          </a:prstGeom>
        </p:spPr>
      </p:pic>
      <p:pic>
        <p:nvPicPr>
          <p:cNvPr id="29" name="Gráfico 28" descr="Harvey Balls 100% con relleno sólido">
            <a:extLst>
              <a:ext uri="{FF2B5EF4-FFF2-40B4-BE49-F238E27FC236}">
                <a16:creationId xmlns:a16="http://schemas.microsoft.com/office/drawing/2014/main" id="{11FBF7D3-FD7E-5ACC-58F1-5E77F4E82E93}"/>
              </a:ext>
            </a:extLst>
          </p:cNvPr>
          <p:cNvPicPr>
            <a:picLocks noChangeAspect="1"/>
          </p:cNvPicPr>
          <p:nvPr/>
        </p:nvPicPr>
        <p:blipFill>
          <a:blip r:embed="rId6">
            <a:extLst>
              <a:ext uri="{96DAC541-7B7A-43D3-8B79-37D633B846F1}">
                <asvg:svgBlip xmlns:asvg="http://schemas.microsoft.com/office/drawing/2016/SVG/main" r:embed="rId8"/>
              </a:ext>
            </a:extLst>
          </a:blip>
          <a:stretch>
            <a:fillRect/>
          </a:stretch>
        </p:blipFill>
        <p:spPr>
          <a:xfrm>
            <a:off x="10373906" y="3338482"/>
            <a:ext cx="351110" cy="351110"/>
          </a:xfrm>
          <a:prstGeom prst="rect">
            <a:avLst/>
          </a:prstGeom>
        </p:spPr>
      </p:pic>
      <p:pic>
        <p:nvPicPr>
          <p:cNvPr id="4" name="Gráfico 3" descr="Harvey Balls 100% con relleno sólido">
            <a:extLst>
              <a:ext uri="{FF2B5EF4-FFF2-40B4-BE49-F238E27FC236}">
                <a16:creationId xmlns:a16="http://schemas.microsoft.com/office/drawing/2014/main" id="{10FC28CC-EB2F-E1ED-4F1D-88AC34BB5379}"/>
              </a:ext>
            </a:extLst>
          </p:cNvPr>
          <p:cNvPicPr>
            <a:picLocks noChangeAspect="1"/>
          </p:cNvPicPr>
          <p:nvPr/>
        </p:nvPicPr>
        <p:blipFill>
          <a:blip r:embed="rId6">
            <a:extLst>
              <a:ext uri="{96DAC541-7B7A-43D3-8B79-37D633B846F1}">
                <asvg:svgBlip xmlns:asvg="http://schemas.microsoft.com/office/drawing/2016/SVG/main" r:embed="rId8"/>
              </a:ext>
            </a:extLst>
          </a:blip>
          <a:stretch>
            <a:fillRect/>
          </a:stretch>
        </p:blipFill>
        <p:spPr>
          <a:xfrm>
            <a:off x="10375723" y="3844699"/>
            <a:ext cx="351110" cy="351110"/>
          </a:xfrm>
          <a:prstGeom prst="rect">
            <a:avLst/>
          </a:prstGeom>
        </p:spPr>
      </p:pic>
      <p:pic>
        <p:nvPicPr>
          <p:cNvPr id="7" name="Gráfico 3" descr="Harvey Balls 100% con relleno sólido">
            <a:extLst>
              <a:ext uri="{FF2B5EF4-FFF2-40B4-BE49-F238E27FC236}">
                <a16:creationId xmlns:a16="http://schemas.microsoft.com/office/drawing/2014/main" id="{4D749CF8-0A96-67A9-96B7-C66E0F1AD1C8}"/>
              </a:ext>
            </a:extLst>
          </p:cNvPr>
          <p:cNvPicPr>
            <a:picLocks noChangeAspect="1"/>
          </p:cNvPicPr>
          <p:nvPr/>
        </p:nvPicPr>
        <p:blipFill>
          <a:blip r:embed="rId6">
            <a:extLst>
              <a:ext uri="{96DAC541-7B7A-43D3-8B79-37D633B846F1}">
                <asvg:svgBlip xmlns:asvg="http://schemas.microsoft.com/office/drawing/2016/SVG/main" r:embed="rId8"/>
              </a:ext>
            </a:extLst>
          </a:blip>
          <a:stretch>
            <a:fillRect/>
          </a:stretch>
        </p:blipFill>
        <p:spPr>
          <a:xfrm>
            <a:off x="10374603" y="4694642"/>
            <a:ext cx="351110" cy="351110"/>
          </a:xfrm>
          <a:prstGeom prst="rect">
            <a:avLst/>
          </a:prstGeom>
        </p:spPr>
      </p:pic>
      <p:pic>
        <p:nvPicPr>
          <p:cNvPr id="9" name="Gráfico 26" descr="Harvey Balls 100% con relleno sólido">
            <a:extLst>
              <a:ext uri="{FF2B5EF4-FFF2-40B4-BE49-F238E27FC236}">
                <a16:creationId xmlns:a16="http://schemas.microsoft.com/office/drawing/2014/main" id="{BC9E0BF6-0FEA-1B9F-1734-939A1DCEF0F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345296" y="1796457"/>
            <a:ext cx="351110" cy="351110"/>
          </a:xfrm>
          <a:prstGeom prst="rect">
            <a:avLst/>
          </a:prstGeom>
        </p:spPr>
      </p:pic>
      <p:pic>
        <p:nvPicPr>
          <p:cNvPr id="10" name="Gráfico 26" descr="Harvey Balls 100% con relleno sólido">
            <a:extLst>
              <a:ext uri="{FF2B5EF4-FFF2-40B4-BE49-F238E27FC236}">
                <a16:creationId xmlns:a16="http://schemas.microsoft.com/office/drawing/2014/main" id="{9EBDFD5D-0A83-5940-F684-376FE352430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381875" y="5594550"/>
            <a:ext cx="351110" cy="351110"/>
          </a:xfrm>
          <a:prstGeom prst="rect">
            <a:avLst/>
          </a:prstGeom>
        </p:spPr>
      </p:pic>
      <p:pic>
        <p:nvPicPr>
          <p:cNvPr id="11" name="Gráfico 28" descr="Harvey Balls 100% con relleno sólido">
            <a:extLst>
              <a:ext uri="{FF2B5EF4-FFF2-40B4-BE49-F238E27FC236}">
                <a16:creationId xmlns:a16="http://schemas.microsoft.com/office/drawing/2014/main" id="{B3537C3C-D090-8ADE-84CC-59575D67E601}"/>
              </a:ext>
            </a:extLst>
          </p:cNvPr>
          <p:cNvPicPr>
            <a:picLocks noChangeAspect="1"/>
          </p:cNvPicPr>
          <p:nvPr/>
        </p:nvPicPr>
        <p:blipFill>
          <a:blip r:embed="rId6">
            <a:extLst>
              <a:ext uri="{96DAC541-7B7A-43D3-8B79-37D633B846F1}">
                <asvg:svgBlip xmlns:asvg="http://schemas.microsoft.com/office/drawing/2016/SVG/main" r:embed="rId8"/>
              </a:ext>
            </a:extLst>
          </a:blip>
          <a:stretch>
            <a:fillRect/>
          </a:stretch>
        </p:blipFill>
        <p:spPr>
          <a:xfrm rot="300000">
            <a:off x="10366863" y="2973444"/>
            <a:ext cx="351110" cy="351110"/>
          </a:xfrm>
          <a:prstGeom prst="rect">
            <a:avLst/>
          </a:prstGeom>
        </p:spPr>
      </p:pic>
    </p:spTree>
    <p:extLst>
      <p:ext uri="{BB962C8B-B14F-4D97-AF65-F5344CB8AC3E}">
        <p14:creationId xmlns:p14="http://schemas.microsoft.com/office/powerpoint/2010/main" val="7628831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66AE1B3-A580-482F-9F24-45B1B9245A2F}"/>
              </a:ext>
            </a:extLst>
          </p:cNvPr>
          <p:cNvSpPr>
            <a:spLocks noGrp="1"/>
          </p:cNvSpPr>
          <p:nvPr>
            <p:ph type="title"/>
          </p:nvPr>
        </p:nvSpPr>
        <p:spPr>
          <a:xfrm>
            <a:off x="556827" y="161072"/>
            <a:ext cx="10515600" cy="639586"/>
          </a:xfrm>
        </p:spPr>
        <p:txBody>
          <a:bodyPr>
            <a:normAutofit/>
          </a:bodyPr>
          <a:lstStyle/>
          <a:p>
            <a:r>
              <a:rPr lang="es-ES" sz="2800" b="1">
                <a:solidFill>
                  <a:srgbClr val="1A507C"/>
                </a:solidFill>
                <a:latin typeface="gobCL"/>
                <a:ea typeface="+mn-ea"/>
                <a:cs typeface="+mn-cs"/>
              </a:rPr>
              <a:t>Mesas Transversales</a:t>
            </a:r>
            <a:endParaRPr lang="es-CL" sz="2800" b="1">
              <a:solidFill>
                <a:srgbClr val="1A507C"/>
              </a:solidFill>
              <a:latin typeface="gobCL"/>
              <a:ea typeface="+mn-ea"/>
              <a:cs typeface="+mn-cs"/>
            </a:endParaRPr>
          </a:p>
        </p:txBody>
      </p:sp>
      <p:sp>
        <p:nvSpPr>
          <p:cNvPr id="5" name="Elipse 4">
            <a:extLst>
              <a:ext uri="{FF2B5EF4-FFF2-40B4-BE49-F238E27FC236}">
                <a16:creationId xmlns:a16="http://schemas.microsoft.com/office/drawing/2014/main" id="{C75B7C43-8DF4-4FF8-CDAA-78D79794023C}"/>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 name="Marcador de número de diapositiva 2">
            <a:extLst>
              <a:ext uri="{FF2B5EF4-FFF2-40B4-BE49-F238E27FC236}">
                <a16:creationId xmlns:a16="http://schemas.microsoft.com/office/drawing/2014/main" id="{EFE71632-71DE-2A54-64EA-E99EEEC99809}"/>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42</a:t>
            </a:fld>
            <a:endParaRPr lang="en-US" b="1">
              <a:solidFill>
                <a:schemeClr val="bg1"/>
              </a:solidFill>
              <a:latin typeface="Calibri"/>
              <a:ea typeface="ヒラギノ角ゴ Pro W3"/>
              <a:cs typeface="Calibri"/>
            </a:endParaRPr>
          </a:p>
        </p:txBody>
      </p:sp>
      <p:graphicFrame>
        <p:nvGraphicFramePr>
          <p:cNvPr id="3" name="Tabla 2">
            <a:extLst>
              <a:ext uri="{FF2B5EF4-FFF2-40B4-BE49-F238E27FC236}">
                <a16:creationId xmlns:a16="http://schemas.microsoft.com/office/drawing/2014/main" id="{9220FDDA-5187-89D4-426E-54589DFC76B5}"/>
              </a:ext>
            </a:extLst>
          </p:cNvPr>
          <p:cNvGraphicFramePr>
            <a:graphicFrameLocks noGrp="1"/>
          </p:cNvGraphicFramePr>
          <p:nvPr>
            <p:extLst>
              <p:ext uri="{D42A27DB-BD31-4B8C-83A1-F6EECF244321}">
                <p14:modId xmlns:p14="http://schemas.microsoft.com/office/powerpoint/2010/main" val="726277924"/>
              </p:ext>
            </p:extLst>
          </p:nvPr>
        </p:nvGraphicFramePr>
        <p:xfrm>
          <a:off x="620133" y="1371895"/>
          <a:ext cx="10276467" cy="4657605"/>
        </p:xfrm>
        <a:graphic>
          <a:graphicData uri="http://schemas.openxmlformats.org/drawingml/2006/table">
            <a:tbl>
              <a:tblPr firstRow="1" bandRow="1">
                <a:tableStyleId>{B301B821-A1FF-4177-AEE7-76D212191A09}</a:tableStyleId>
              </a:tblPr>
              <a:tblGrid>
                <a:gridCol w="9513523">
                  <a:extLst>
                    <a:ext uri="{9D8B030D-6E8A-4147-A177-3AD203B41FA5}">
                      <a16:colId xmlns:a16="http://schemas.microsoft.com/office/drawing/2014/main" val="265563881"/>
                    </a:ext>
                  </a:extLst>
                </a:gridCol>
                <a:gridCol w="762944">
                  <a:extLst>
                    <a:ext uri="{9D8B030D-6E8A-4147-A177-3AD203B41FA5}">
                      <a16:colId xmlns:a16="http://schemas.microsoft.com/office/drawing/2014/main" val="701581697"/>
                    </a:ext>
                  </a:extLst>
                </a:gridCol>
              </a:tblGrid>
              <a:tr h="456290">
                <a:tc>
                  <a:txBody>
                    <a:bodyPr/>
                    <a:lstStyle/>
                    <a:p>
                      <a:pPr algn="ctr" fontAlgn="b"/>
                      <a:r>
                        <a:rPr lang="es-ES" sz="2000" u="none" strike="noStrike">
                          <a:effectLst/>
                          <a:latin typeface="gobCL"/>
                        </a:rPr>
                        <a:t>SALUD MENTAL (PROMOCIÓN Y PREVENCIÓN)</a:t>
                      </a:r>
                    </a:p>
                  </a:txBody>
                  <a:tcPr marL="8601" marR="8601" marT="8601" marB="0" anchor="ctr">
                    <a:lnL w="0">
                      <a:noFill/>
                    </a:lnL>
                    <a:lnR w="0">
                      <a:noFill/>
                    </a:lnR>
                    <a:lnT w="0">
                      <a:noFill/>
                    </a:lnT>
                    <a:lnB w="0">
                      <a:noFill/>
                    </a:lnB>
                    <a:solidFill>
                      <a:srgbClr val="004677"/>
                    </a:solidFill>
                  </a:tcPr>
                </a:tc>
                <a:tc>
                  <a:txBody>
                    <a:bodyPr/>
                    <a:lstStyle/>
                    <a:p>
                      <a:pPr algn="ctr" fontAlgn="b"/>
                      <a:endParaRPr lang="es-CL" sz="1400" u="none" strike="noStrike">
                        <a:effectLst/>
                        <a:latin typeface="gobCL" pitchFamily="50" charset="0"/>
                      </a:endParaRPr>
                    </a:p>
                  </a:txBody>
                  <a:tcPr marL="8601" marR="8601" marT="8601" marB="0" anchor="ctr">
                    <a:lnL w="0">
                      <a:noFill/>
                    </a:lnL>
                    <a:lnR w="0">
                      <a:noFill/>
                    </a:lnR>
                    <a:lnT w="0">
                      <a:noFill/>
                    </a:lnT>
                    <a:lnB w="0">
                      <a:noFill/>
                    </a:lnB>
                    <a:solidFill>
                      <a:srgbClr val="004677"/>
                    </a:solidFill>
                  </a:tcPr>
                </a:tc>
                <a:extLst>
                  <a:ext uri="{0D108BD9-81ED-4DB2-BD59-A6C34878D82A}">
                    <a16:rowId xmlns:a16="http://schemas.microsoft.com/office/drawing/2014/main" val="421966448"/>
                  </a:ext>
                </a:extLst>
              </a:tr>
              <a:tr h="559415">
                <a:tc>
                  <a:txBody>
                    <a:bodyPr/>
                    <a:lstStyle/>
                    <a:p>
                      <a:pPr marL="0" lvl="0" indent="0" algn="l">
                        <a:lnSpc>
                          <a:spcPct val="100000"/>
                        </a:lnSpc>
                        <a:buNone/>
                      </a:pPr>
                      <a:r>
                        <a:rPr lang="es-ES" sz="1800" b="0" i="0" u="none" strike="noStrike" kern="1200" baseline="0" noProof="0">
                          <a:solidFill>
                            <a:srgbClr val="1A507C"/>
                          </a:solidFill>
                          <a:effectLst/>
                          <a:latin typeface="gobCL"/>
                        </a:rPr>
                        <a:t>C1: Nuevo Protocolo de Gestión de Riesgos Psicosociales en el Trabajo y nuevo cuestionario CEAL-SM</a:t>
                      </a:r>
                    </a:p>
                  </a:txBody>
                  <a:tcPr marL="9525" marR="9525" marT="9525" marB="0" anchor="ctr">
                    <a:lnL w="0">
                      <a:noFill/>
                    </a:lnL>
                    <a:lnR w="0">
                      <a:noFill/>
                    </a:lnR>
                    <a:lnT w="0">
                      <a:noFill/>
                    </a:lnT>
                    <a:lnB w="0">
                      <a:noFill/>
                    </a:lnB>
                    <a:noFill/>
                  </a:tcPr>
                </a:tc>
                <a:tc>
                  <a:txBody>
                    <a:bodyPr/>
                    <a:lstStyle/>
                    <a:p>
                      <a:pPr algn="l" fontAlgn="b"/>
                      <a:endParaRPr lang="es-CL" sz="14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4185762679"/>
                  </a:ext>
                </a:extLst>
              </a:tr>
              <a:tr h="757725">
                <a:tc>
                  <a:txBody>
                    <a:bodyPr/>
                    <a:lstStyle/>
                    <a:p>
                      <a:pPr marL="0" lvl="0" indent="0" algn="l">
                        <a:lnSpc>
                          <a:spcPct val="100000"/>
                        </a:lnSpc>
                        <a:buNone/>
                      </a:pPr>
                      <a:r>
                        <a:rPr lang="es-ES" sz="1800" b="0" i="0" u="none" strike="noStrike" kern="1200" baseline="0" noProof="0">
                          <a:solidFill>
                            <a:srgbClr val="1A507C"/>
                          </a:solidFill>
                          <a:effectLst/>
                          <a:latin typeface="gobCL"/>
                        </a:rPr>
                        <a:t>C2: Incorporación al PMG la correcta aplicación de la metodología del nuevo cuestionario de evaluación de riesgos (CEAL-SM)</a:t>
                      </a:r>
                    </a:p>
                  </a:txBody>
                  <a:tcPr marL="9525" marR="9525" marT="9525" marB="0" anchor="ctr">
                    <a:lnL w="0">
                      <a:noFill/>
                    </a:lnL>
                    <a:lnR w="0">
                      <a:noFill/>
                    </a:lnR>
                    <a:lnT w="0">
                      <a:noFill/>
                    </a:lnT>
                    <a:lnB w="0">
                      <a:noFill/>
                    </a:lnB>
                    <a:noFill/>
                  </a:tcPr>
                </a:tc>
                <a:tc>
                  <a:txBody>
                    <a:bodyPr/>
                    <a:lstStyle/>
                    <a:p>
                      <a:pPr algn="l" fontAlgn="b"/>
                      <a:endParaRPr lang="es-CL" sz="14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2702772006"/>
                  </a:ext>
                </a:extLst>
              </a:tr>
              <a:tr h="790935">
                <a:tc>
                  <a:txBody>
                    <a:bodyPr/>
                    <a:lstStyle/>
                    <a:p>
                      <a:pPr marL="0" lvl="0" indent="0" algn="l">
                        <a:lnSpc>
                          <a:spcPct val="100000"/>
                        </a:lnSpc>
                        <a:buNone/>
                      </a:pPr>
                      <a:r>
                        <a:rPr lang="es-ES" sz="1800" b="0" i="0" u="none" strike="noStrike" kern="1200" baseline="0" noProof="0">
                          <a:solidFill>
                            <a:srgbClr val="1A507C"/>
                          </a:solidFill>
                          <a:effectLst/>
                          <a:latin typeface="gobCL"/>
                        </a:rPr>
                        <a:t>C3:Incorporar elaboración y/o actualización de políticas y procedimientos de protección a la salud mental funcionaria a indicadores ADP de directores de servicios de salud </a:t>
                      </a:r>
                      <a:endParaRPr lang="en-US"/>
                    </a:p>
                    <a:p>
                      <a:pPr lvl="0" algn="l">
                        <a:buNone/>
                      </a:pPr>
                      <a:endParaRPr lang="es-ES" sz="1800" u="none" strike="noStrike" kern="1200">
                        <a:solidFill>
                          <a:srgbClr val="1A507C"/>
                        </a:solidFill>
                        <a:effectLst/>
                        <a:latin typeface="gobCL"/>
                        <a:ea typeface="+mn-ea"/>
                        <a:cs typeface="+mn-cs"/>
                      </a:endParaRPr>
                    </a:p>
                  </a:txBody>
                  <a:tcPr marL="9525" marR="9525" marT="9525" marB="0" anchor="ctr">
                    <a:lnL w="0">
                      <a:noFill/>
                    </a:lnL>
                    <a:lnR w="0">
                      <a:noFill/>
                    </a:lnR>
                    <a:lnT w="0">
                      <a:noFill/>
                    </a:lnT>
                    <a:lnB w="0">
                      <a:noFill/>
                    </a:lnB>
                    <a:noFill/>
                  </a:tcPr>
                </a:tc>
                <a:tc>
                  <a:txBody>
                    <a:bodyPr/>
                    <a:lstStyle/>
                    <a:p>
                      <a:pPr algn="l" fontAlgn="b"/>
                      <a:endParaRPr lang="es-CL" sz="14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2598984220"/>
                  </a:ext>
                </a:extLst>
              </a:tr>
              <a:tr h="477428">
                <a:tc>
                  <a:txBody>
                    <a:bodyPr/>
                    <a:lstStyle/>
                    <a:p>
                      <a:pPr marL="0" lvl="0" indent="0" algn="l">
                        <a:lnSpc>
                          <a:spcPct val="100000"/>
                        </a:lnSpc>
                        <a:buNone/>
                      </a:pPr>
                      <a:r>
                        <a:rPr lang="es-CL" sz="1800" b="0" i="0" u="none" strike="noStrike" kern="1200" baseline="0" noProof="0">
                          <a:solidFill>
                            <a:srgbClr val="1A507C"/>
                          </a:solidFill>
                          <a:effectLst/>
                          <a:latin typeface="gobCL"/>
                        </a:rPr>
                        <a:t>C4:Difusión y capacitación de nueva metodología CEAL-SM</a:t>
                      </a:r>
                    </a:p>
                    <a:p>
                      <a:pPr marL="0" lvl="0" indent="0" algn="l">
                        <a:lnSpc>
                          <a:spcPct val="100000"/>
                        </a:lnSpc>
                        <a:buNone/>
                      </a:pPr>
                      <a:endParaRPr lang="es-CL" sz="1800" b="0" i="0" u="none" strike="noStrike" kern="1200" baseline="0" noProof="0">
                        <a:solidFill>
                          <a:srgbClr val="1A507C"/>
                        </a:solidFill>
                        <a:effectLst/>
                        <a:latin typeface="gobCL"/>
                      </a:endParaRPr>
                    </a:p>
                  </a:txBody>
                  <a:tcPr marL="9525" marR="9525" marT="9525" marB="0" anchor="ctr">
                    <a:lnL w="0">
                      <a:noFill/>
                    </a:lnL>
                    <a:lnR w="0">
                      <a:noFill/>
                    </a:lnR>
                    <a:lnT w="0">
                      <a:noFill/>
                    </a:lnT>
                    <a:lnB w="0">
                      <a:noFill/>
                    </a:lnB>
                    <a:noFill/>
                  </a:tcPr>
                </a:tc>
                <a:tc>
                  <a:txBody>
                    <a:bodyPr/>
                    <a:lstStyle/>
                    <a:p>
                      <a:pPr algn="l" fontAlgn="b"/>
                      <a:endParaRPr lang="es-CL" sz="14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2374819696"/>
                  </a:ext>
                </a:extLst>
              </a:tr>
              <a:tr h="465363">
                <a:tc>
                  <a:txBody>
                    <a:bodyPr/>
                    <a:lstStyle/>
                    <a:p>
                      <a:pPr marL="0" lvl="0" indent="0" algn="l" fontAlgn="t">
                        <a:lnSpc>
                          <a:spcPct val="100000"/>
                        </a:lnSpc>
                      </a:pPr>
                      <a:r>
                        <a:rPr lang="es-ES" sz="1800" u="none" strike="noStrike" kern="1200">
                          <a:solidFill>
                            <a:srgbClr val="1A507C"/>
                          </a:solidFill>
                          <a:effectLst/>
                          <a:latin typeface="gobCL"/>
                          <a:ea typeface="+mn-ea"/>
                          <a:cs typeface="+mn-cs"/>
                        </a:rPr>
                        <a:t>C5: Cápsulas de SUSESO o plan de difusión y </a:t>
                      </a:r>
                      <a:r>
                        <a:rPr lang="es-ES" sz="1800" b="0" i="0" u="none" strike="noStrike" kern="1200" baseline="0" noProof="0">
                          <a:solidFill>
                            <a:srgbClr val="1A507C"/>
                          </a:solidFill>
                          <a:effectLst/>
                          <a:latin typeface="gobCL"/>
                        </a:rPr>
                        <a:t>desde la plataforma CAMPUS SC sector descentralizado</a:t>
                      </a:r>
                      <a:endParaRPr lang="es-ES" sz="1800" u="none" strike="noStrike" kern="1200">
                        <a:solidFill>
                          <a:srgbClr val="1A507C"/>
                        </a:solidFill>
                        <a:effectLst/>
                        <a:latin typeface="gobCL"/>
                        <a:ea typeface="+mn-ea"/>
                        <a:cs typeface="+mn-cs"/>
                      </a:endParaRPr>
                    </a:p>
                    <a:p>
                      <a:pPr lvl="0" algn="l">
                        <a:buNone/>
                      </a:pPr>
                      <a:endParaRPr lang="es-ES" sz="1800" u="none" strike="noStrike" kern="1200">
                        <a:solidFill>
                          <a:srgbClr val="1A507C"/>
                        </a:solidFill>
                        <a:effectLst/>
                        <a:latin typeface="gobCL"/>
                        <a:ea typeface="+mn-ea"/>
                        <a:cs typeface="+mn-cs"/>
                      </a:endParaRPr>
                    </a:p>
                  </a:txBody>
                  <a:tcPr marL="9525" marR="9525" marT="9525" marB="0" anchor="ctr">
                    <a:lnL w="0">
                      <a:noFill/>
                    </a:lnL>
                    <a:lnR w="0">
                      <a:noFill/>
                    </a:lnR>
                    <a:lnT w="0">
                      <a:noFill/>
                    </a:lnT>
                    <a:lnB w="0">
                      <a:noFill/>
                    </a:lnB>
                    <a:noFill/>
                  </a:tcPr>
                </a:tc>
                <a:tc>
                  <a:txBody>
                    <a:bodyPr/>
                    <a:lstStyle/>
                    <a:p>
                      <a:pPr algn="l" fontAlgn="b"/>
                      <a:endParaRPr lang="es-CL" sz="14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931893654"/>
                  </a:ext>
                </a:extLst>
              </a:tr>
              <a:tr h="935360">
                <a:tc>
                  <a:txBody>
                    <a:bodyPr/>
                    <a:lstStyle/>
                    <a:p>
                      <a:pPr marL="0" lvl="0" indent="0" algn="l">
                        <a:lnSpc>
                          <a:spcPct val="100000"/>
                        </a:lnSpc>
                        <a:buNone/>
                      </a:pPr>
                      <a:r>
                        <a:rPr lang="es-ES" sz="1800" b="0" i="0" u="none" strike="noStrike" kern="1200" baseline="0" noProof="0">
                          <a:solidFill>
                            <a:srgbClr val="1A507C"/>
                          </a:solidFill>
                          <a:effectLst/>
                          <a:latin typeface="gobCL"/>
                        </a:rPr>
                        <a:t>C6: Capacitación a Altos Directivos Públicos y </a:t>
                      </a:r>
                    </a:p>
                    <a:p>
                      <a:pPr marL="0" lvl="0" indent="0" algn="l">
                        <a:lnSpc>
                          <a:spcPct val="100000"/>
                        </a:lnSpc>
                        <a:buNone/>
                      </a:pPr>
                      <a:r>
                        <a:rPr lang="es-ES" sz="1800" b="0" i="0" u="none" strike="noStrike" kern="1200" baseline="0" noProof="0">
                          <a:solidFill>
                            <a:srgbClr val="1A507C"/>
                          </a:solidFill>
                          <a:effectLst/>
                          <a:latin typeface="gobCL"/>
                        </a:rPr>
                        <a:t>equipos técnicos en gestión de riesgos psicosociales en el trabajo y  elaboración de planes de calidad de vida laboral.</a:t>
                      </a:r>
                    </a:p>
                  </a:txBody>
                  <a:tcPr marL="9525" marR="9525" marT="9525" marB="0" anchor="ctr">
                    <a:lnL w="0">
                      <a:noFill/>
                    </a:lnL>
                    <a:lnR w="0">
                      <a:noFill/>
                    </a:lnR>
                    <a:lnT w="0">
                      <a:noFill/>
                    </a:lnT>
                    <a:lnB w="0">
                      <a:noFill/>
                    </a:lnB>
                    <a:noFill/>
                  </a:tcPr>
                </a:tc>
                <a:tc>
                  <a:txBody>
                    <a:bodyPr/>
                    <a:lstStyle/>
                    <a:p>
                      <a:pPr algn="l" fontAlgn="b"/>
                      <a:endParaRPr lang="es-CL" sz="14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3536687928"/>
                  </a:ext>
                </a:extLst>
              </a:tr>
            </a:tbl>
          </a:graphicData>
        </a:graphic>
      </p:graphicFrame>
      <p:grpSp>
        <p:nvGrpSpPr>
          <p:cNvPr id="19" name="Grupo 18">
            <a:extLst>
              <a:ext uri="{FF2B5EF4-FFF2-40B4-BE49-F238E27FC236}">
                <a16:creationId xmlns:a16="http://schemas.microsoft.com/office/drawing/2014/main" id="{512FE3F2-F785-3921-C479-9CF46A9ACCFF}"/>
              </a:ext>
            </a:extLst>
          </p:cNvPr>
          <p:cNvGrpSpPr/>
          <p:nvPr/>
        </p:nvGrpSpPr>
        <p:grpSpPr>
          <a:xfrm>
            <a:off x="8486731" y="109828"/>
            <a:ext cx="1613258" cy="830802"/>
            <a:chOff x="9242105" y="249597"/>
            <a:chExt cx="1613258" cy="830802"/>
          </a:xfrm>
        </p:grpSpPr>
        <p:pic>
          <p:nvPicPr>
            <p:cNvPr id="20" name="Gráfico 19" descr="Harvey Balls 100% con relleno sólido">
              <a:extLst>
                <a:ext uri="{FF2B5EF4-FFF2-40B4-BE49-F238E27FC236}">
                  <a16:creationId xmlns:a16="http://schemas.microsoft.com/office/drawing/2014/main" id="{C0694162-2FF4-CD15-70BA-F1936E51FC0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42105" y="533241"/>
              <a:ext cx="250031" cy="250031"/>
            </a:xfrm>
            <a:prstGeom prst="rect">
              <a:avLst/>
            </a:prstGeom>
          </p:spPr>
        </p:pic>
        <p:sp>
          <p:nvSpPr>
            <p:cNvPr id="21" name="CuadroTexto 20">
              <a:extLst>
                <a:ext uri="{FF2B5EF4-FFF2-40B4-BE49-F238E27FC236}">
                  <a16:creationId xmlns:a16="http://schemas.microsoft.com/office/drawing/2014/main" id="{E11A4F48-EA07-DBDA-556D-A099E9CE236D}"/>
                </a:ext>
              </a:extLst>
            </p:cNvPr>
            <p:cNvSpPr txBox="1"/>
            <p:nvPr/>
          </p:nvSpPr>
          <p:spPr>
            <a:xfrm>
              <a:off x="9492136" y="251101"/>
              <a:ext cx="1363227" cy="276999"/>
            </a:xfrm>
            <a:prstGeom prst="rect">
              <a:avLst/>
            </a:prstGeom>
            <a:noFill/>
          </p:spPr>
          <p:txBody>
            <a:bodyPr wrap="square">
              <a:spAutoFit/>
            </a:bodyPr>
            <a:lstStyle/>
            <a:p>
              <a:r>
                <a:rPr lang="es-CL" sz="1200">
                  <a:solidFill>
                    <a:schemeClr val="bg2">
                      <a:lumMod val="25000"/>
                    </a:schemeClr>
                  </a:solidFill>
                  <a:latin typeface="gobCL"/>
                </a:rPr>
                <a:t>Completado</a:t>
              </a:r>
            </a:p>
          </p:txBody>
        </p:sp>
        <p:sp>
          <p:nvSpPr>
            <p:cNvPr id="22" name="CuadroTexto 21">
              <a:extLst>
                <a:ext uri="{FF2B5EF4-FFF2-40B4-BE49-F238E27FC236}">
                  <a16:creationId xmlns:a16="http://schemas.microsoft.com/office/drawing/2014/main" id="{EEE776FA-2D7D-6529-E65D-A964FA2544AD}"/>
                </a:ext>
              </a:extLst>
            </p:cNvPr>
            <p:cNvSpPr txBox="1"/>
            <p:nvPr/>
          </p:nvSpPr>
          <p:spPr>
            <a:xfrm>
              <a:off x="9492136" y="511862"/>
              <a:ext cx="1363227" cy="307777"/>
            </a:xfrm>
            <a:prstGeom prst="rect">
              <a:avLst/>
            </a:prstGeom>
            <a:noFill/>
          </p:spPr>
          <p:txBody>
            <a:bodyPr wrap="square">
              <a:spAutoFit/>
            </a:bodyPr>
            <a:lstStyle/>
            <a:p>
              <a:r>
                <a:rPr lang="es-CL" sz="1200">
                  <a:solidFill>
                    <a:schemeClr val="bg2">
                      <a:lumMod val="25000"/>
                    </a:schemeClr>
                  </a:solidFill>
                  <a:latin typeface="gobCL"/>
                </a:rPr>
                <a:t>En</a:t>
              </a:r>
              <a:r>
                <a:rPr lang="es-CL" sz="1400" b="0" i="0" u="none" strike="noStrike">
                  <a:solidFill>
                    <a:schemeClr val="bg2">
                      <a:lumMod val="25000"/>
                    </a:schemeClr>
                  </a:solidFill>
                  <a:effectLst/>
                  <a:latin typeface="gobCL"/>
                </a:rPr>
                <a:t> </a:t>
              </a:r>
              <a:r>
                <a:rPr lang="es-CL" sz="1200">
                  <a:solidFill>
                    <a:schemeClr val="bg2">
                      <a:lumMod val="25000"/>
                    </a:schemeClr>
                  </a:solidFill>
                  <a:latin typeface="gobCL"/>
                </a:rPr>
                <a:t>proceso</a:t>
              </a:r>
            </a:p>
          </p:txBody>
        </p:sp>
        <p:sp>
          <p:nvSpPr>
            <p:cNvPr id="23" name="CuadroTexto 22">
              <a:extLst>
                <a:ext uri="{FF2B5EF4-FFF2-40B4-BE49-F238E27FC236}">
                  <a16:creationId xmlns:a16="http://schemas.microsoft.com/office/drawing/2014/main" id="{9F84EF97-25ED-4B94-047F-F8864E1F7B81}"/>
                </a:ext>
              </a:extLst>
            </p:cNvPr>
            <p:cNvSpPr txBox="1"/>
            <p:nvPr/>
          </p:nvSpPr>
          <p:spPr>
            <a:xfrm>
              <a:off x="9492136" y="803400"/>
              <a:ext cx="1363227" cy="276999"/>
            </a:xfrm>
            <a:prstGeom prst="rect">
              <a:avLst/>
            </a:prstGeom>
            <a:noFill/>
          </p:spPr>
          <p:txBody>
            <a:bodyPr wrap="square">
              <a:spAutoFit/>
            </a:bodyPr>
            <a:lstStyle/>
            <a:p>
              <a:r>
                <a:rPr lang="es-CL" sz="1200">
                  <a:solidFill>
                    <a:schemeClr val="bg2">
                      <a:lumMod val="25000"/>
                    </a:schemeClr>
                  </a:solidFill>
                  <a:latin typeface="gobCL"/>
                </a:rPr>
                <a:t>Pendiente</a:t>
              </a:r>
            </a:p>
          </p:txBody>
        </p:sp>
        <p:pic>
          <p:nvPicPr>
            <p:cNvPr id="24" name="Gráfico 23" descr="Harvey Balls 100% con relleno sólido">
              <a:extLst>
                <a:ext uri="{FF2B5EF4-FFF2-40B4-BE49-F238E27FC236}">
                  <a16:creationId xmlns:a16="http://schemas.microsoft.com/office/drawing/2014/main" id="{9A476951-C11C-FFDC-F358-6138F9A47C3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42105" y="816885"/>
              <a:ext cx="250031" cy="250031"/>
            </a:xfrm>
            <a:prstGeom prst="rect">
              <a:avLst/>
            </a:prstGeom>
          </p:spPr>
        </p:pic>
        <p:pic>
          <p:nvPicPr>
            <p:cNvPr id="25" name="Gráfico 24" descr="Harvey Balls 100% con relleno sólido">
              <a:extLst>
                <a:ext uri="{FF2B5EF4-FFF2-40B4-BE49-F238E27FC236}">
                  <a16:creationId xmlns:a16="http://schemas.microsoft.com/office/drawing/2014/main" id="{2016EEA6-A89B-1FA6-323D-3CDEABB363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242105" y="249597"/>
              <a:ext cx="250031" cy="250031"/>
            </a:xfrm>
            <a:prstGeom prst="rect">
              <a:avLst/>
            </a:prstGeom>
          </p:spPr>
        </p:pic>
      </p:grpSp>
      <p:pic>
        <p:nvPicPr>
          <p:cNvPr id="28" name="Gráfico 27" descr="Harvey Balls 100% con relleno sólido">
            <a:extLst>
              <a:ext uri="{FF2B5EF4-FFF2-40B4-BE49-F238E27FC236}">
                <a16:creationId xmlns:a16="http://schemas.microsoft.com/office/drawing/2014/main" id="{828A58F4-3151-F364-004C-8380B0CE5C2F}"/>
              </a:ext>
            </a:extLst>
          </p:cNvPr>
          <p:cNvPicPr>
            <a:picLocks noChangeAspect="1"/>
          </p:cNvPicPr>
          <p:nvPr/>
        </p:nvPicPr>
        <p:blipFill>
          <a:blip r:embed="rId6">
            <a:extLst>
              <a:ext uri="{96DAC541-7B7A-43D3-8B79-37D633B846F1}">
                <asvg:svgBlip xmlns:asvg="http://schemas.microsoft.com/office/drawing/2016/SVG/main" r:embed="rId8"/>
              </a:ext>
            </a:extLst>
          </a:blip>
          <a:stretch>
            <a:fillRect/>
          </a:stretch>
        </p:blipFill>
        <p:spPr>
          <a:xfrm>
            <a:off x="10331341" y="1916381"/>
            <a:ext cx="351110" cy="351110"/>
          </a:xfrm>
          <a:prstGeom prst="rect">
            <a:avLst/>
          </a:prstGeom>
        </p:spPr>
      </p:pic>
      <p:pic>
        <p:nvPicPr>
          <p:cNvPr id="29" name="Gráfico 28" descr="Harvey Balls 100% con relleno sólido">
            <a:extLst>
              <a:ext uri="{FF2B5EF4-FFF2-40B4-BE49-F238E27FC236}">
                <a16:creationId xmlns:a16="http://schemas.microsoft.com/office/drawing/2014/main" id="{11FBF7D3-FD7E-5ACC-58F1-5E77F4E82E93}"/>
              </a:ext>
            </a:extLst>
          </p:cNvPr>
          <p:cNvPicPr>
            <a:picLocks noChangeAspect="1"/>
          </p:cNvPicPr>
          <p:nvPr/>
        </p:nvPicPr>
        <p:blipFill>
          <a:blip r:embed="rId6">
            <a:extLst>
              <a:ext uri="{96DAC541-7B7A-43D3-8B79-37D633B846F1}">
                <asvg:svgBlip xmlns:asvg="http://schemas.microsoft.com/office/drawing/2016/SVG/main" r:embed="rId8"/>
              </a:ext>
            </a:extLst>
          </a:blip>
          <a:stretch>
            <a:fillRect/>
          </a:stretch>
        </p:blipFill>
        <p:spPr>
          <a:xfrm>
            <a:off x="10331377" y="5415727"/>
            <a:ext cx="351110" cy="351110"/>
          </a:xfrm>
          <a:prstGeom prst="rect">
            <a:avLst/>
          </a:prstGeom>
        </p:spPr>
      </p:pic>
      <p:pic>
        <p:nvPicPr>
          <p:cNvPr id="4" name="Gráfico 3" descr="Harvey Balls 100% con relleno sólido">
            <a:extLst>
              <a:ext uri="{FF2B5EF4-FFF2-40B4-BE49-F238E27FC236}">
                <a16:creationId xmlns:a16="http://schemas.microsoft.com/office/drawing/2014/main" id="{10FC28CC-EB2F-E1ED-4F1D-88AC34BB5379}"/>
              </a:ext>
            </a:extLst>
          </p:cNvPr>
          <p:cNvPicPr>
            <a:picLocks noChangeAspect="1"/>
          </p:cNvPicPr>
          <p:nvPr/>
        </p:nvPicPr>
        <p:blipFill>
          <a:blip r:embed="rId6">
            <a:extLst>
              <a:ext uri="{96DAC541-7B7A-43D3-8B79-37D633B846F1}">
                <asvg:svgBlip xmlns:asvg="http://schemas.microsoft.com/office/drawing/2016/SVG/main" r:embed="rId8"/>
              </a:ext>
            </a:extLst>
          </a:blip>
          <a:stretch>
            <a:fillRect/>
          </a:stretch>
        </p:blipFill>
        <p:spPr>
          <a:xfrm>
            <a:off x="10330222" y="3936310"/>
            <a:ext cx="351110" cy="351110"/>
          </a:xfrm>
          <a:prstGeom prst="rect">
            <a:avLst/>
          </a:prstGeom>
        </p:spPr>
      </p:pic>
      <p:pic>
        <p:nvPicPr>
          <p:cNvPr id="7" name="Gráfico 3" descr="Harvey Balls 100% con relleno sólido">
            <a:extLst>
              <a:ext uri="{FF2B5EF4-FFF2-40B4-BE49-F238E27FC236}">
                <a16:creationId xmlns:a16="http://schemas.microsoft.com/office/drawing/2014/main" id="{4D749CF8-0A96-67A9-96B7-C66E0F1AD1C8}"/>
              </a:ext>
            </a:extLst>
          </p:cNvPr>
          <p:cNvPicPr>
            <a:picLocks noChangeAspect="1"/>
          </p:cNvPicPr>
          <p:nvPr/>
        </p:nvPicPr>
        <p:blipFill>
          <a:blip r:embed="rId6">
            <a:extLst>
              <a:ext uri="{96DAC541-7B7A-43D3-8B79-37D633B846F1}">
                <asvg:svgBlip xmlns:asvg="http://schemas.microsoft.com/office/drawing/2016/SVG/main" r:embed="rId8"/>
              </a:ext>
            </a:extLst>
          </a:blip>
          <a:stretch>
            <a:fillRect/>
          </a:stretch>
        </p:blipFill>
        <p:spPr>
          <a:xfrm>
            <a:off x="10318404" y="4583129"/>
            <a:ext cx="351110" cy="351110"/>
          </a:xfrm>
          <a:prstGeom prst="rect">
            <a:avLst/>
          </a:prstGeom>
        </p:spPr>
      </p:pic>
      <p:pic>
        <p:nvPicPr>
          <p:cNvPr id="9" name="Gráfico 26" descr="Harvey Balls 100% con relleno sólido">
            <a:extLst>
              <a:ext uri="{FF2B5EF4-FFF2-40B4-BE49-F238E27FC236}">
                <a16:creationId xmlns:a16="http://schemas.microsoft.com/office/drawing/2014/main" id="{BC9E0BF6-0FEA-1B9F-1734-939A1DCEF0F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344077" y="2566971"/>
            <a:ext cx="351110" cy="351110"/>
          </a:xfrm>
          <a:prstGeom prst="rect">
            <a:avLst/>
          </a:prstGeom>
        </p:spPr>
      </p:pic>
      <p:pic>
        <p:nvPicPr>
          <p:cNvPr id="10" name="Gráfico 26" descr="Harvey Balls 100% con relleno sólido">
            <a:extLst>
              <a:ext uri="{FF2B5EF4-FFF2-40B4-BE49-F238E27FC236}">
                <a16:creationId xmlns:a16="http://schemas.microsoft.com/office/drawing/2014/main" id="{9EBDFD5D-0A83-5940-F684-376FE3524305}"/>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321551" y="3135378"/>
            <a:ext cx="351110" cy="351110"/>
          </a:xfrm>
          <a:prstGeom prst="rect">
            <a:avLst/>
          </a:prstGeom>
        </p:spPr>
      </p:pic>
    </p:spTree>
    <p:extLst>
      <p:ext uri="{BB962C8B-B14F-4D97-AF65-F5344CB8AC3E}">
        <p14:creationId xmlns:p14="http://schemas.microsoft.com/office/powerpoint/2010/main" val="291793808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66AE1B3-A580-482F-9F24-45B1B9245A2F}"/>
              </a:ext>
            </a:extLst>
          </p:cNvPr>
          <p:cNvSpPr>
            <a:spLocks noGrp="1"/>
          </p:cNvSpPr>
          <p:nvPr>
            <p:ph type="title"/>
          </p:nvPr>
        </p:nvSpPr>
        <p:spPr>
          <a:xfrm>
            <a:off x="594927" y="275372"/>
            <a:ext cx="6339273" cy="639586"/>
          </a:xfrm>
        </p:spPr>
        <p:txBody>
          <a:bodyPr>
            <a:normAutofit/>
          </a:bodyPr>
          <a:lstStyle/>
          <a:p>
            <a:r>
              <a:rPr lang="es-ES" sz="2800" b="1">
                <a:solidFill>
                  <a:srgbClr val="1A507C"/>
                </a:solidFill>
                <a:latin typeface="gobCL"/>
                <a:ea typeface="+mn-ea"/>
                <a:cs typeface="+mn-cs"/>
              </a:rPr>
              <a:t>Mesas Transversales</a:t>
            </a:r>
            <a:endParaRPr lang="es-CL" sz="2800" b="1">
              <a:solidFill>
                <a:srgbClr val="1A507C"/>
              </a:solidFill>
              <a:latin typeface="gobCL"/>
              <a:ea typeface="+mn-ea"/>
              <a:cs typeface="+mn-cs"/>
            </a:endParaRPr>
          </a:p>
        </p:txBody>
      </p:sp>
      <p:sp>
        <p:nvSpPr>
          <p:cNvPr id="5" name="Elipse 4">
            <a:extLst>
              <a:ext uri="{FF2B5EF4-FFF2-40B4-BE49-F238E27FC236}">
                <a16:creationId xmlns:a16="http://schemas.microsoft.com/office/drawing/2014/main" id="{C75B7C43-8DF4-4FF8-CDAA-78D79794023C}"/>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 name="Marcador de número de diapositiva 2">
            <a:extLst>
              <a:ext uri="{FF2B5EF4-FFF2-40B4-BE49-F238E27FC236}">
                <a16:creationId xmlns:a16="http://schemas.microsoft.com/office/drawing/2014/main" id="{EFE71632-71DE-2A54-64EA-E99EEEC99809}"/>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43</a:t>
            </a:fld>
            <a:endParaRPr lang="en-US" b="1">
              <a:solidFill>
                <a:schemeClr val="bg1"/>
              </a:solidFill>
              <a:latin typeface="Calibri"/>
              <a:ea typeface="ヒラギノ角ゴ Pro W3"/>
              <a:cs typeface="Calibri"/>
            </a:endParaRPr>
          </a:p>
        </p:txBody>
      </p:sp>
      <p:graphicFrame>
        <p:nvGraphicFramePr>
          <p:cNvPr id="3" name="Tabla 2">
            <a:extLst>
              <a:ext uri="{FF2B5EF4-FFF2-40B4-BE49-F238E27FC236}">
                <a16:creationId xmlns:a16="http://schemas.microsoft.com/office/drawing/2014/main" id="{9220FDDA-5187-89D4-426E-54589DFC76B5}"/>
              </a:ext>
            </a:extLst>
          </p:cNvPr>
          <p:cNvGraphicFramePr>
            <a:graphicFrameLocks noGrp="1"/>
          </p:cNvGraphicFramePr>
          <p:nvPr>
            <p:extLst>
              <p:ext uri="{D42A27DB-BD31-4B8C-83A1-F6EECF244321}">
                <p14:modId xmlns:p14="http://schemas.microsoft.com/office/powerpoint/2010/main" val="2032597531"/>
              </p:ext>
            </p:extLst>
          </p:nvPr>
        </p:nvGraphicFramePr>
        <p:xfrm>
          <a:off x="620327" y="1384595"/>
          <a:ext cx="10276273" cy="2659679"/>
        </p:xfrm>
        <a:graphic>
          <a:graphicData uri="http://schemas.openxmlformats.org/drawingml/2006/table">
            <a:tbl>
              <a:tblPr firstRow="1" bandRow="1">
                <a:tableStyleId>{B301B821-A1FF-4177-AEE7-76D212191A09}</a:tableStyleId>
              </a:tblPr>
              <a:tblGrid>
                <a:gridCol w="9653254">
                  <a:extLst>
                    <a:ext uri="{9D8B030D-6E8A-4147-A177-3AD203B41FA5}">
                      <a16:colId xmlns:a16="http://schemas.microsoft.com/office/drawing/2014/main" val="265563881"/>
                    </a:ext>
                  </a:extLst>
                </a:gridCol>
                <a:gridCol w="623019">
                  <a:extLst>
                    <a:ext uri="{9D8B030D-6E8A-4147-A177-3AD203B41FA5}">
                      <a16:colId xmlns:a16="http://schemas.microsoft.com/office/drawing/2014/main" val="701581697"/>
                    </a:ext>
                  </a:extLst>
                </a:gridCol>
              </a:tblGrid>
              <a:tr h="393405">
                <a:tc>
                  <a:txBody>
                    <a:bodyPr/>
                    <a:lstStyle/>
                    <a:p>
                      <a:pPr algn="ctr" fontAlgn="b"/>
                      <a:r>
                        <a:rPr lang="es-ES" sz="2000" u="none" strike="noStrike">
                          <a:effectLst/>
                          <a:latin typeface="gobCL"/>
                        </a:rPr>
                        <a:t>SALUD MENTAL (PROMOCIÓN Y PREVENCIÓN)</a:t>
                      </a:r>
                    </a:p>
                  </a:txBody>
                  <a:tcPr marL="8601" marR="8601" marT="8601" marB="0" anchor="ctr">
                    <a:lnL w="0">
                      <a:noFill/>
                    </a:lnL>
                    <a:lnR w="0">
                      <a:noFill/>
                    </a:lnR>
                    <a:lnT w="0">
                      <a:noFill/>
                    </a:lnT>
                    <a:lnB w="0">
                      <a:noFill/>
                    </a:lnB>
                    <a:solidFill>
                      <a:srgbClr val="004677"/>
                    </a:solidFill>
                  </a:tcPr>
                </a:tc>
                <a:tc>
                  <a:txBody>
                    <a:bodyPr/>
                    <a:lstStyle/>
                    <a:p>
                      <a:pPr algn="ctr" fontAlgn="b"/>
                      <a:endParaRPr lang="es-CL" sz="1400" u="none" strike="noStrike">
                        <a:effectLst/>
                        <a:latin typeface="gobCL" pitchFamily="50" charset="0"/>
                      </a:endParaRPr>
                    </a:p>
                  </a:txBody>
                  <a:tcPr marL="8601" marR="8601" marT="8601" marB="0" anchor="ctr">
                    <a:lnL w="0">
                      <a:noFill/>
                    </a:lnL>
                    <a:lnR w="0">
                      <a:noFill/>
                    </a:lnR>
                    <a:lnT w="0">
                      <a:noFill/>
                    </a:lnT>
                    <a:lnB w="0">
                      <a:noFill/>
                    </a:lnB>
                    <a:solidFill>
                      <a:srgbClr val="004677"/>
                    </a:solidFill>
                  </a:tcPr>
                </a:tc>
                <a:extLst>
                  <a:ext uri="{0D108BD9-81ED-4DB2-BD59-A6C34878D82A}">
                    <a16:rowId xmlns:a16="http://schemas.microsoft.com/office/drawing/2014/main" val="421966448"/>
                  </a:ext>
                </a:extLst>
              </a:tr>
              <a:tr h="558209">
                <a:tc>
                  <a:txBody>
                    <a:bodyPr/>
                    <a:lstStyle/>
                    <a:p>
                      <a:pPr marL="0" lvl="0" indent="0" algn="l">
                        <a:lnSpc>
                          <a:spcPct val="100000"/>
                        </a:lnSpc>
                        <a:buNone/>
                      </a:pPr>
                      <a:r>
                        <a:rPr lang="es-ES" sz="1800" b="0" i="0" u="none" strike="noStrike" kern="1200" baseline="0" noProof="0">
                          <a:solidFill>
                            <a:srgbClr val="1A507C"/>
                          </a:solidFill>
                          <a:effectLst/>
                          <a:latin typeface="gobCL" pitchFamily="50" charset="0"/>
                        </a:rPr>
                        <a:t>C7: Promover y capacitar respecto de calidad de vida  y ambientes laborales saludables en el trabajo</a:t>
                      </a:r>
                      <a:endParaRPr lang="es-ES">
                        <a:latin typeface="gobCL" pitchFamily="50" charset="0"/>
                      </a:endParaRPr>
                    </a:p>
                  </a:txBody>
                  <a:tcPr marL="9525" marR="9525" marT="9525" marB="0" anchor="ctr">
                    <a:lnL w="0">
                      <a:noFill/>
                    </a:lnL>
                    <a:lnR w="0">
                      <a:noFill/>
                    </a:lnR>
                    <a:lnT w="0">
                      <a:noFill/>
                    </a:lnT>
                    <a:lnB w="0">
                      <a:noFill/>
                    </a:lnB>
                    <a:noFill/>
                  </a:tcPr>
                </a:tc>
                <a:tc>
                  <a:txBody>
                    <a:bodyPr/>
                    <a:lstStyle/>
                    <a:p>
                      <a:pPr algn="l" fontAlgn="b"/>
                      <a:endParaRPr lang="es-CL" sz="14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4185762679"/>
                  </a:ext>
                </a:extLst>
              </a:tr>
              <a:tr h="832883">
                <a:tc>
                  <a:txBody>
                    <a:bodyPr/>
                    <a:lstStyle/>
                    <a:p>
                      <a:pPr marL="0" lvl="0" indent="0" algn="l">
                        <a:lnSpc>
                          <a:spcPct val="100000"/>
                        </a:lnSpc>
                        <a:buNone/>
                      </a:pPr>
                      <a:r>
                        <a:rPr lang="es-ES" sz="1800" b="0" i="0" u="none" strike="noStrike" kern="1200" baseline="0" noProof="0">
                          <a:solidFill>
                            <a:srgbClr val="1A507C"/>
                          </a:solidFill>
                          <a:effectLst/>
                          <a:latin typeface="gobCL" pitchFamily="50" charset="0"/>
                        </a:rPr>
                        <a:t>C8: Orientar y capacitar respecto de acciones de buenas prácticas en la gestión de riesgos psicosociales en el trabajo en las instituciones. </a:t>
                      </a:r>
                    </a:p>
                  </a:txBody>
                  <a:tcPr marL="9525" marR="9525" marT="9525" marB="0" anchor="ctr">
                    <a:lnL w="0">
                      <a:noFill/>
                    </a:lnL>
                    <a:lnR w="0">
                      <a:noFill/>
                    </a:lnR>
                    <a:lnT w="0">
                      <a:noFill/>
                    </a:lnT>
                    <a:lnB w="0">
                      <a:noFill/>
                    </a:lnB>
                    <a:noFill/>
                  </a:tcPr>
                </a:tc>
                <a:tc>
                  <a:txBody>
                    <a:bodyPr/>
                    <a:lstStyle/>
                    <a:p>
                      <a:pPr algn="l" fontAlgn="b"/>
                      <a:endParaRPr lang="es-CL" sz="14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2598984220"/>
                  </a:ext>
                </a:extLst>
              </a:tr>
              <a:tr h="875182">
                <a:tc>
                  <a:txBody>
                    <a:bodyPr/>
                    <a:lstStyle/>
                    <a:p>
                      <a:pPr marL="0" lvl="0" indent="0" algn="l">
                        <a:lnSpc>
                          <a:spcPct val="100000"/>
                        </a:lnSpc>
                        <a:buNone/>
                      </a:pPr>
                      <a:r>
                        <a:rPr lang="es-CL" sz="1800" b="0" i="0" u="none" strike="noStrike" kern="1200" baseline="0" noProof="0">
                          <a:solidFill>
                            <a:srgbClr val="1A507C"/>
                          </a:solidFill>
                          <a:effectLst/>
                          <a:latin typeface="gobCL" pitchFamily="50" charset="0"/>
                        </a:rPr>
                        <a:t>C9: Incorporar en las normas de aplicación general del Servicio Civil materias de salud mental en los espacios de trabajo.</a:t>
                      </a:r>
                      <a:endParaRPr lang="en-US">
                        <a:latin typeface="gobCL" pitchFamily="50" charset="0"/>
                      </a:endParaRPr>
                    </a:p>
                    <a:p>
                      <a:pPr marL="0" lvl="0" indent="0" algn="l">
                        <a:lnSpc>
                          <a:spcPct val="100000"/>
                        </a:lnSpc>
                        <a:buNone/>
                      </a:pPr>
                      <a:endParaRPr lang="es-CL" sz="1800" b="0" i="0" u="none" strike="noStrike" kern="1200" baseline="0" noProof="0">
                        <a:solidFill>
                          <a:srgbClr val="1A507C"/>
                        </a:solidFill>
                        <a:effectLst/>
                        <a:latin typeface="gobCL" pitchFamily="50" charset="0"/>
                      </a:endParaRPr>
                    </a:p>
                  </a:txBody>
                  <a:tcPr marL="9525" marR="9525" marT="9525" marB="0" anchor="ctr">
                    <a:lnL w="0">
                      <a:noFill/>
                    </a:lnL>
                    <a:lnR w="0">
                      <a:noFill/>
                    </a:lnR>
                    <a:lnT w="0">
                      <a:noFill/>
                    </a:lnT>
                    <a:lnB w="0">
                      <a:noFill/>
                    </a:lnB>
                    <a:noFill/>
                  </a:tcPr>
                </a:tc>
                <a:tc>
                  <a:txBody>
                    <a:bodyPr/>
                    <a:lstStyle/>
                    <a:p>
                      <a:pPr algn="l" fontAlgn="b"/>
                      <a:endParaRPr lang="es-CL" sz="14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2374819696"/>
                  </a:ext>
                </a:extLst>
              </a:tr>
            </a:tbl>
          </a:graphicData>
        </a:graphic>
      </p:graphicFrame>
      <p:grpSp>
        <p:nvGrpSpPr>
          <p:cNvPr id="19" name="Grupo 18">
            <a:extLst>
              <a:ext uri="{FF2B5EF4-FFF2-40B4-BE49-F238E27FC236}">
                <a16:creationId xmlns:a16="http://schemas.microsoft.com/office/drawing/2014/main" id="{512FE3F2-F785-3921-C479-9CF46A9ACCFF}"/>
              </a:ext>
            </a:extLst>
          </p:cNvPr>
          <p:cNvGrpSpPr/>
          <p:nvPr/>
        </p:nvGrpSpPr>
        <p:grpSpPr>
          <a:xfrm>
            <a:off x="8486731" y="109828"/>
            <a:ext cx="1613258" cy="830802"/>
            <a:chOff x="9242105" y="249597"/>
            <a:chExt cx="1613258" cy="830802"/>
          </a:xfrm>
        </p:grpSpPr>
        <p:pic>
          <p:nvPicPr>
            <p:cNvPr id="20" name="Gráfico 19" descr="Harvey Balls 100% con relleno sólido">
              <a:extLst>
                <a:ext uri="{FF2B5EF4-FFF2-40B4-BE49-F238E27FC236}">
                  <a16:creationId xmlns:a16="http://schemas.microsoft.com/office/drawing/2014/main" id="{C0694162-2FF4-CD15-70BA-F1936E51FC0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42105" y="533241"/>
              <a:ext cx="250031" cy="250031"/>
            </a:xfrm>
            <a:prstGeom prst="rect">
              <a:avLst/>
            </a:prstGeom>
          </p:spPr>
        </p:pic>
        <p:sp>
          <p:nvSpPr>
            <p:cNvPr id="21" name="CuadroTexto 20">
              <a:extLst>
                <a:ext uri="{FF2B5EF4-FFF2-40B4-BE49-F238E27FC236}">
                  <a16:creationId xmlns:a16="http://schemas.microsoft.com/office/drawing/2014/main" id="{E11A4F48-EA07-DBDA-556D-A099E9CE236D}"/>
                </a:ext>
              </a:extLst>
            </p:cNvPr>
            <p:cNvSpPr txBox="1"/>
            <p:nvPr/>
          </p:nvSpPr>
          <p:spPr>
            <a:xfrm>
              <a:off x="9492136" y="251101"/>
              <a:ext cx="1363227" cy="276999"/>
            </a:xfrm>
            <a:prstGeom prst="rect">
              <a:avLst/>
            </a:prstGeom>
            <a:noFill/>
          </p:spPr>
          <p:txBody>
            <a:bodyPr wrap="square">
              <a:spAutoFit/>
            </a:bodyPr>
            <a:lstStyle/>
            <a:p>
              <a:r>
                <a:rPr lang="es-CL" sz="1200">
                  <a:solidFill>
                    <a:schemeClr val="bg2">
                      <a:lumMod val="25000"/>
                    </a:schemeClr>
                  </a:solidFill>
                  <a:latin typeface="gobCL"/>
                </a:rPr>
                <a:t>Completado</a:t>
              </a:r>
            </a:p>
          </p:txBody>
        </p:sp>
        <p:sp>
          <p:nvSpPr>
            <p:cNvPr id="22" name="CuadroTexto 21">
              <a:extLst>
                <a:ext uri="{FF2B5EF4-FFF2-40B4-BE49-F238E27FC236}">
                  <a16:creationId xmlns:a16="http://schemas.microsoft.com/office/drawing/2014/main" id="{EEE776FA-2D7D-6529-E65D-A964FA2544AD}"/>
                </a:ext>
              </a:extLst>
            </p:cNvPr>
            <p:cNvSpPr txBox="1"/>
            <p:nvPr/>
          </p:nvSpPr>
          <p:spPr>
            <a:xfrm>
              <a:off x="9492136" y="511862"/>
              <a:ext cx="1363227" cy="307777"/>
            </a:xfrm>
            <a:prstGeom prst="rect">
              <a:avLst/>
            </a:prstGeom>
            <a:noFill/>
          </p:spPr>
          <p:txBody>
            <a:bodyPr wrap="square">
              <a:spAutoFit/>
            </a:bodyPr>
            <a:lstStyle/>
            <a:p>
              <a:r>
                <a:rPr lang="es-CL" sz="1200">
                  <a:solidFill>
                    <a:schemeClr val="bg2">
                      <a:lumMod val="25000"/>
                    </a:schemeClr>
                  </a:solidFill>
                  <a:latin typeface="gobCL"/>
                </a:rPr>
                <a:t>En</a:t>
              </a:r>
              <a:r>
                <a:rPr lang="es-CL" sz="1400" b="0" i="0" u="none" strike="noStrike">
                  <a:solidFill>
                    <a:schemeClr val="bg2">
                      <a:lumMod val="25000"/>
                    </a:schemeClr>
                  </a:solidFill>
                  <a:effectLst/>
                  <a:latin typeface="gobCL"/>
                </a:rPr>
                <a:t> </a:t>
              </a:r>
              <a:r>
                <a:rPr lang="es-CL" sz="1200">
                  <a:solidFill>
                    <a:schemeClr val="bg2">
                      <a:lumMod val="25000"/>
                    </a:schemeClr>
                  </a:solidFill>
                  <a:latin typeface="gobCL"/>
                </a:rPr>
                <a:t>proceso</a:t>
              </a:r>
            </a:p>
          </p:txBody>
        </p:sp>
        <p:sp>
          <p:nvSpPr>
            <p:cNvPr id="23" name="CuadroTexto 22">
              <a:extLst>
                <a:ext uri="{FF2B5EF4-FFF2-40B4-BE49-F238E27FC236}">
                  <a16:creationId xmlns:a16="http://schemas.microsoft.com/office/drawing/2014/main" id="{9F84EF97-25ED-4B94-047F-F8864E1F7B81}"/>
                </a:ext>
              </a:extLst>
            </p:cNvPr>
            <p:cNvSpPr txBox="1"/>
            <p:nvPr/>
          </p:nvSpPr>
          <p:spPr>
            <a:xfrm>
              <a:off x="9492136" y="803400"/>
              <a:ext cx="1363227" cy="276999"/>
            </a:xfrm>
            <a:prstGeom prst="rect">
              <a:avLst/>
            </a:prstGeom>
            <a:noFill/>
          </p:spPr>
          <p:txBody>
            <a:bodyPr wrap="square">
              <a:spAutoFit/>
            </a:bodyPr>
            <a:lstStyle/>
            <a:p>
              <a:r>
                <a:rPr lang="es-CL" sz="1200">
                  <a:solidFill>
                    <a:schemeClr val="bg2">
                      <a:lumMod val="25000"/>
                    </a:schemeClr>
                  </a:solidFill>
                  <a:latin typeface="gobCL"/>
                </a:rPr>
                <a:t>Pendiente</a:t>
              </a:r>
            </a:p>
          </p:txBody>
        </p:sp>
        <p:pic>
          <p:nvPicPr>
            <p:cNvPr id="24" name="Gráfico 23" descr="Harvey Balls 100% con relleno sólido">
              <a:extLst>
                <a:ext uri="{FF2B5EF4-FFF2-40B4-BE49-F238E27FC236}">
                  <a16:creationId xmlns:a16="http://schemas.microsoft.com/office/drawing/2014/main" id="{9A476951-C11C-FFDC-F358-6138F9A47C3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42105" y="816885"/>
              <a:ext cx="250031" cy="250031"/>
            </a:xfrm>
            <a:prstGeom prst="rect">
              <a:avLst/>
            </a:prstGeom>
          </p:spPr>
        </p:pic>
        <p:pic>
          <p:nvPicPr>
            <p:cNvPr id="25" name="Gráfico 24" descr="Harvey Balls 100% con relleno sólido">
              <a:extLst>
                <a:ext uri="{FF2B5EF4-FFF2-40B4-BE49-F238E27FC236}">
                  <a16:creationId xmlns:a16="http://schemas.microsoft.com/office/drawing/2014/main" id="{2016EEA6-A89B-1FA6-323D-3CDEABB363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242105" y="249597"/>
              <a:ext cx="250031" cy="250031"/>
            </a:xfrm>
            <a:prstGeom prst="rect">
              <a:avLst/>
            </a:prstGeom>
          </p:spPr>
        </p:pic>
      </p:grpSp>
      <p:pic>
        <p:nvPicPr>
          <p:cNvPr id="28" name="Gráfico 27" descr="Harvey Balls 100% con relleno sólido">
            <a:extLst>
              <a:ext uri="{FF2B5EF4-FFF2-40B4-BE49-F238E27FC236}">
                <a16:creationId xmlns:a16="http://schemas.microsoft.com/office/drawing/2014/main" id="{828A58F4-3151-F364-004C-8380B0CE5C2F}"/>
              </a:ext>
            </a:extLst>
          </p:cNvPr>
          <p:cNvPicPr>
            <a:picLocks noChangeAspect="1"/>
          </p:cNvPicPr>
          <p:nvPr/>
        </p:nvPicPr>
        <p:blipFill>
          <a:blip r:embed="rId6">
            <a:extLst>
              <a:ext uri="{96DAC541-7B7A-43D3-8B79-37D633B846F1}">
                <asvg:svgBlip xmlns:asvg="http://schemas.microsoft.com/office/drawing/2016/SVG/main" r:embed="rId8"/>
              </a:ext>
            </a:extLst>
          </a:blip>
          <a:stretch>
            <a:fillRect/>
          </a:stretch>
        </p:blipFill>
        <p:spPr>
          <a:xfrm>
            <a:off x="10379090" y="1878864"/>
            <a:ext cx="351110" cy="351110"/>
          </a:xfrm>
          <a:prstGeom prst="rect">
            <a:avLst/>
          </a:prstGeom>
        </p:spPr>
      </p:pic>
      <p:pic>
        <p:nvPicPr>
          <p:cNvPr id="4" name="Gráfico 3" descr="Harvey Balls 100% con relleno sólido">
            <a:extLst>
              <a:ext uri="{FF2B5EF4-FFF2-40B4-BE49-F238E27FC236}">
                <a16:creationId xmlns:a16="http://schemas.microsoft.com/office/drawing/2014/main" id="{10FC28CC-EB2F-E1ED-4F1D-88AC34BB5379}"/>
              </a:ext>
            </a:extLst>
          </p:cNvPr>
          <p:cNvPicPr>
            <a:picLocks noChangeAspect="1"/>
          </p:cNvPicPr>
          <p:nvPr/>
        </p:nvPicPr>
        <p:blipFill>
          <a:blip r:embed="rId6">
            <a:extLst>
              <a:ext uri="{96DAC541-7B7A-43D3-8B79-37D633B846F1}">
                <asvg:svgBlip xmlns:asvg="http://schemas.microsoft.com/office/drawing/2016/SVG/main" r:embed="rId8"/>
              </a:ext>
            </a:extLst>
          </a:blip>
          <a:stretch>
            <a:fillRect/>
          </a:stretch>
        </p:blipFill>
        <p:spPr>
          <a:xfrm>
            <a:off x="10364381" y="3226458"/>
            <a:ext cx="351110" cy="351110"/>
          </a:xfrm>
          <a:prstGeom prst="rect">
            <a:avLst/>
          </a:prstGeom>
        </p:spPr>
      </p:pic>
      <p:pic>
        <p:nvPicPr>
          <p:cNvPr id="9" name="Gráfico 26" descr="Harvey Balls 100% con relleno sólido">
            <a:extLst>
              <a:ext uri="{FF2B5EF4-FFF2-40B4-BE49-F238E27FC236}">
                <a16:creationId xmlns:a16="http://schemas.microsoft.com/office/drawing/2014/main" id="{BC9E0BF6-0FEA-1B9F-1734-939A1DCEF0F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364191" y="2537650"/>
            <a:ext cx="351110" cy="351110"/>
          </a:xfrm>
          <a:prstGeom prst="rect">
            <a:avLst/>
          </a:prstGeom>
        </p:spPr>
      </p:pic>
    </p:spTree>
    <p:extLst>
      <p:ext uri="{BB962C8B-B14F-4D97-AF65-F5344CB8AC3E}">
        <p14:creationId xmlns:p14="http://schemas.microsoft.com/office/powerpoint/2010/main" val="44245626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66AE1B3-A580-482F-9F24-45B1B9245A2F}"/>
              </a:ext>
            </a:extLst>
          </p:cNvPr>
          <p:cNvSpPr>
            <a:spLocks noGrp="1"/>
          </p:cNvSpPr>
          <p:nvPr>
            <p:ph type="title"/>
          </p:nvPr>
        </p:nvSpPr>
        <p:spPr>
          <a:xfrm>
            <a:off x="556827" y="161072"/>
            <a:ext cx="10515600" cy="639586"/>
          </a:xfrm>
        </p:spPr>
        <p:txBody>
          <a:bodyPr>
            <a:normAutofit/>
          </a:bodyPr>
          <a:lstStyle/>
          <a:p>
            <a:r>
              <a:rPr lang="es-ES" sz="2800" b="1">
                <a:solidFill>
                  <a:srgbClr val="1A507C"/>
                </a:solidFill>
                <a:latin typeface="gobCL"/>
                <a:ea typeface="+mn-ea"/>
                <a:cs typeface="+mn-cs"/>
              </a:rPr>
              <a:t>Mesas Transversales</a:t>
            </a:r>
            <a:endParaRPr lang="es-CL" sz="2800" b="1">
              <a:solidFill>
                <a:srgbClr val="1A507C"/>
              </a:solidFill>
              <a:latin typeface="gobCL"/>
              <a:ea typeface="+mn-ea"/>
              <a:cs typeface="+mn-cs"/>
            </a:endParaRPr>
          </a:p>
        </p:txBody>
      </p:sp>
      <p:sp>
        <p:nvSpPr>
          <p:cNvPr id="5" name="Elipse 4">
            <a:extLst>
              <a:ext uri="{FF2B5EF4-FFF2-40B4-BE49-F238E27FC236}">
                <a16:creationId xmlns:a16="http://schemas.microsoft.com/office/drawing/2014/main" id="{C75B7C43-8DF4-4FF8-CDAA-78D79794023C}"/>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 name="Marcador de número de diapositiva 2">
            <a:extLst>
              <a:ext uri="{FF2B5EF4-FFF2-40B4-BE49-F238E27FC236}">
                <a16:creationId xmlns:a16="http://schemas.microsoft.com/office/drawing/2014/main" id="{EFE71632-71DE-2A54-64EA-E99EEEC99809}"/>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44</a:t>
            </a:fld>
            <a:endParaRPr lang="en-US" b="1">
              <a:solidFill>
                <a:schemeClr val="bg1"/>
              </a:solidFill>
              <a:latin typeface="Calibri"/>
              <a:ea typeface="ヒラギノ角ゴ Pro W3"/>
              <a:cs typeface="Calibri"/>
            </a:endParaRPr>
          </a:p>
        </p:txBody>
      </p:sp>
      <p:graphicFrame>
        <p:nvGraphicFramePr>
          <p:cNvPr id="3" name="Tabla 2">
            <a:extLst>
              <a:ext uri="{FF2B5EF4-FFF2-40B4-BE49-F238E27FC236}">
                <a16:creationId xmlns:a16="http://schemas.microsoft.com/office/drawing/2014/main" id="{9220FDDA-5187-89D4-426E-54589DFC76B5}"/>
              </a:ext>
            </a:extLst>
          </p:cNvPr>
          <p:cNvGraphicFramePr>
            <a:graphicFrameLocks noGrp="1"/>
          </p:cNvGraphicFramePr>
          <p:nvPr>
            <p:extLst>
              <p:ext uri="{D42A27DB-BD31-4B8C-83A1-F6EECF244321}">
                <p14:modId xmlns:p14="http://schemas.microsoft.com/office/powerpoint/2010/main" val="3180404621"/>
              </p:ext>
            </p:extLst>
          </p:nvPr>
        </p:nvGraphicFramePr>
        <p:xfrm>
          <a:off x="635000" y="1409995"/>
          <a:ext cx="10312400" cy="4139906"/>
        </p:xfrm>
        <a:graphic>
          <a:graphicData uri="http://schemas.openxmlformats.org/drawingml/2006/table">
            <a:tbl>
              <a:tblPr firstRow="1" bandRow="1">
                <a:tableStyleId>{B301B821-A1FF-4177-AEE7-76D212191A09}</a:tableStyleId>
              </a:tblPr>
              <a:tblGrid>
                <a:gridCol w="9512300">
                  <a:extLst>
                    <a:ext uri="{9D8B030D-6E8A-4147-A177-3AD203B41FA5}">
                      <a16:colId xmlns:a16="http://schemas.microsoft.com/office/drawing/2014/main" val="265563881"/>
                    </a:ext>
                  </a:extLst>
                </a:gridCol>
                <a:gridCol w="800100">
                  <a:extLst>
                    <a:ext uri="{9D8B030D-6E8A-4147-A177-3AD203B41FA5}">
                      <a16:colId xmlns:a16="http://schemas.microsoft.com/office/drawing/2014/main" val="701581697"/>
                    </a:ext>
                  </a:extLst>
                </a:gridCol>
              </a:tblGrid>
              <a:tr h="453861">
                <a:tc>
                  <a:txBody>
                    <a:bodyPr/>
                    <a:lstStyle/>
                    <a:p>
                      <a:pPr algn="ctr" fontAlgn="b"/>
                      <a:r>
                        <a:rPr lang="es-ES" sz="2000" u="none" strike="noStrike">
                          <a:effectLst/>
                          <a:latin typeface="gobCL"/>
                        </a:rPr>
                        <a:t>SALUD MENTAL (ASISTENCIA)</a:t>
                      </a:r>
                    </a:p>
                  </a:txBody>
                  <a:tcPr marL="8601" marR="8601" marT="8601" marB="0" anchor="ctr">
                    <a:lnL w="0">
                      <a:noFill/>
                    </a:lnL>
                    <a:lnR w="0">
                      <a:noFill/>
                    </a:lnR>
                    <a:lnT w="0">
                      <a:noFill/>
                    </a:lnT>
                    <a:lnB w="0">
                      <a:noFill/>
                    </a:lnB>
                    <a:solidFill>
                      <a:srgbClr val="004677"/>
                    </a:solidFill>
                  </a:tcPr>
                </a:tc>
                <a:tc>
                  <a:txBody>
                    <a:bodyPr/>
                    <a:lstStyle/>
                    <a:p>
                      <a:pPr algn="ctr" fontAlgn="b"/>
                      <a:endParaRPr lang="es-CL" sz="1400" u="none" strike="noStrike">
                        <a:effectLst/>
                        <a:latin typeface="gobCL" pitchFamily="50" charset="0"/>
                      </a:endParaRPr>
                    </a:p>
                  </a:txBody>
                  <a:tcPr marL="8601" marR="8601" marT="8601" marB="0" anchor="ctr">
                    <a:lnL w="0">
                      <a:noFill/>
                    </a:lnL>
                    <a:lnR w="0">
                      <a:noFill/>
                    </a:lnR>
                    <a:lnT w="0">
                      <a:noFill/>
                    </a:lnT>
                    <a:lnB w="0">
                      <a:noFill/>
                    </a:lnB>
                    <a:solidFill>
                      <a:srgbClr val="004677"/>
                    </a:solidFill>
                  </a:tcPr>
                </a:tc>
                <a:extLst>
                  <a:ext uri="{0D108BD9-81ED-4DB2-BD59-A6C34878D82A}">
                    <a16:rowId xmlns:a16="http://schemas.microsoft.com/office/drawing/2014/main" val="421966448"/>
                  </a:ext>
                </a:extLst>
              </a:tr>
              <a:tr h="665475">
                <a:tc>
                  <a:txBody>
                    <a:bodyPr/>
                    <a:lstStyle/>
                    <a:p>
                      <a:pPr marL="0" lvl="0" indent="0" algn="l">
                        <a:lnSpc>
                          <a:spcPct val="100000"/>
                        </a:lnSpc>
                        <a:buNone/>
                      </a:pPr>
                      <a:r>
                        <a:rPr lang="es-ES" sz="1800" b="0" i="0" u="none" strike="noStrike" kern="1200" baseline="0" noProof="0">
                          <a:solidFill>
                            <a:srgbClr val="1A507C"/>
                          </a:solidFill>
                          <a:effectLst/>
                          <a:latin typeface="gobCL"/>
                        </a:rPr>
                        <a:t>C10: Capacitación y difusión respecto a enfermedades del trabajo (que se entiende por estas, como se califican, proceso de reclamo, etc)</a:t>
                      </a:r>
                    </a:p>
                  </a:txBody>
                  <a:tcPr marL="9525" marR="9525" marT="9525" marB="0" anchor="ctr">
                    <a:lnL w="0">
                      <a:noFill/>
                    </a:lnL>
                    <a:lnR w="0">
                      <a:noFill/>
                    </a:lnR>
                    <a:lnT w="0">
                      <a:noFill/>
                    </a:lnT>
                    <a:lnB w="0">
                      <a:noFill/>
                    </a:lnB>
                    <a:noFill/>
                  </a:tcPr>
                </a:tc>
                <a:tc>
                  <a:txBody>
                    <a:bodyPr/>
                    <a:lstStyle/>
                    <a:p>
                      <a:pPr algn="l" fontAlgn="b"/>
                      <a:endParaRPr lang="es-CL" sz="14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4185762679"/>
                  </a:ext>
                </a:extLst>
              </a:tr>
              <a:tr h="665475">
                <a:tc>
                  <a:txBody>
                    <a:bodyPr/>
                    <a:lstStyle/>
                    <a:p>
                      <a:pPr marL="0" lvl="0" indent="0" algn="l">
                        <a:lnSpc>
                          <a:spcPct val="100000"/>
                        </a:lnSpc>
                        <a:buNone/>
                      </a:pPr>
                      <a:r>
                        <a:rPr lang="es-ES" sz="1800" b="0" i="0" u="none" strike="noStrike" kern="1200" baseline="0" noProof="0">
                          <a:solidFill>
                            <a:srgbClr val="1A507C"/>
                          </a:solidFill>
                          <a:effectLst/>
                          <a:latin typeface="gobCL"/>
                        </a:rPr>
                        <a:t>C11: Fiscalizar la correcta calificación de Enfermedades Profesionales.</a:t>
                      </a:r>
                    </a:p>
                  </a:txBody>
                  <a:tcPr marL="9525" marR="9525" marT="9525" marB="0" anchor="ctr">
                    <a:lnL w="0">
                      <a:noFill/>
                    </a:lnL>
                    <a:lnR w="0">
                      <a:noFill/>
                    </a:lnR>
                    <a:lnT w="0">
                      <a:noFill/>
                    </a:lnT>
                    <a:lnB w="0">
                      <a:noFill/>
                    </a:lnB>
                    <a:noFill/>
                  </a:tcPr>
                </a:tc>
                <a:tc>
                  <a:txBody>
                    <a:bodyPr/>
                    <a:lstStyle/>
                    <a:p>
                      <a:pPr algn="l" fontAlgn="b"/>
                      <a:endParaRPr lang="es-CL" sz="14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2702772006"/>
                  </a:ext>
                </a:extLst>
              </a:tr>
              <a:tr h="697164">
                <a:tc>
                  <a:txBody>
                    <a:bodyPr/>
                    <a:lstStyle/>
                    <a:p>
                      <a:pPr marL="0" lvl="0" indent="0" algn="l">
                        <a:lnSpc>
                          <a:spcPct val="100000"/>
                        </a:lnSpc>
                        <a:buNone/>
                      </a:pPr>
                      <a:r>
                        <a:rPr lang="es-ES" sz="1800" b="0" i="0" u="none" strike="noStrike" kern="1200" baseline="0" noProof="0">
                          <a:solidFill>
                            <a:srgbClr val="1A507C"/>
                          </a:solidFill>
                          <a:effectLst/>
                          <a:latin typeface="gobCL"/>
                        </a:rPr>
                        <a:t>C12: Fiscalizar la correcta entrega de prestaciones médicas de salud mental de Mutualidades/ISL</a:t>
                      </a:r>
                      <a:endParaRPr lang="en-US"/>
                    </a:p>
                  </a:txBody>
                  <a:tcPr marL="9525" marR="9525" marT="9525" marB="0" anchor="ctr">
                    <a:lnL w="0">
                      <a:noFill/>
                    </a:lnL>
                    <a:lnR w="0">
                      <a:noFill/>
                    </a:lnR>
                    <a:lnT w="0">
                      <a:noFill/>
                    </a:lnT>
                    <a:lnB w="0">
                      <a:noFill/>
                    </a:lnB>
                    <a:noFill/>
                  </a:tcPr>
                </a:tc>
                <a:tc>
                  <a:txBody>
                    <a:bodyPr/>
                    <a:lstStyle/>
                    <a:p>
                      <a:pPr algn="l" fontAlgn="b"/>
                      <a:endParaRPr lang="es-CL" sz="14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2598984220"/>
                  </a:ext>
                </a:extLst>
              </a:tr>
              <a:tr h="992456">
                <a:tc>
                  <a:txBody>
                    <a:bodyPr/>
                    <a:lstStyle/>
                    <a:p>
                      <a:pPr marL="0" lvl="0" indent="0" algn="l">
                        <a:lnSpc>
                          <a:spcPct val="100000"/>
                        </a:lnSpc>
                        <a:buNone/>
                      </a:pPr>
                      <a:r>
                        <a:rPr lang="es-CL" sz="1800" b="0" i="0" u="none" strike="noStrike" kern="1200" baseline="0" noProof="0">
                          <a:solidFill>
                            <a:srgbClr val="1A507C"/>
                          </a:solidFill>
                          <a:effectLst/>
                          <a:latin typeface="gobCL"/>
                        </a:rPr>
                        <a:t>C13:Ampliación de cobertura y acceso de prestaciones de salud mental a través de Hospital digital y Saludablemente. Se evaluará la disponibilidad y uso de atenciones directas de prestaciones de salud mental a funcionarios del sector de la salud, como insumo para la formulación del presupuesto 202</a:t>
                      </a:r>
                      <a:r>
                        <a:rPr lang="en-US"/>
                        <a:t>4.</a:t>
                      </a:r>
                    </a:p>
                  </a:txBody>
                  <a:tcPr marL="9525" marR="9525" marT="9525" marB="0" anchor="ctr">
                    <a:lnL w="0">
                      <a:noFill/>
                    </a:lnL>
                    <a:lnR w="0">
                      <a:noFill/>
                    </a:lnR>
                    <a:lnT w="0">
                      <a:noFill/>
                    </a:lnT>
                    <a:lnB w="0">
                      <a:noFill/>
                    </a:lnB>
                    <a:noFill/>
                  </a:tcPr>
                </a:tc>
                <a:tc>
                  <a:txBody>
                    <a:bodyPr/>
                    <a:lstStyle/>
                    <a:p>
                      <a:pPr algn="l" fontAlgn="b"/>
                      <a:endParaRPr lang="es-CL" sz="14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2374819696"/>
                  </a:ext>
                </a:extLst>
              </a:tr>
              <a:tr h="665475">
                <a:tc>
                  <a:txBody>
                    <a:bodyPr/>
                    <a:lstStyle/>
                    <a:p>
                      <a:pPr marL="0" lvl="0" indent="0" algn="l">
                        <a:lnSpc>
                          <a:spcPct val="100000"/>
                        </a:lnSpc>
                        <a:buNone/>
                      </a:pPr>
                      <a:r>
                        <a:rPr lang="es-ES" sz="1800" b="0" i="0" u="none" strike="noStrike" kern="1200" baseline="0" noProof="0">
                          <a:solidFill>
                            <a:srgbClr val="1A507C"/>
                          </a:solidFill>
                          <a:effectLst/>
                          <a:latin typeface="gobCL"/>
                        </a:rPr>
                        <a:t>C14: Implementación por parte de OA de manera permanente de Programa de Atención temprana en Salud Mental.</a:t>
                      </a:r>
                    </a:p>
                  </a:txBody>
                  <a:tcPr marL="9525" marR="9525" marT="9525" marB="0" anchor="ctr">
                    <a:lnL w="0">
                      <a:noFill/>
                    </a:lnL>
                    <a:lnR w="0">
                      <a:noFill/>
                    </a:lnR>
                    <a:lnT w="0">
                      <a:noFill/>
                    </a:lnT>
                    <a:lnB w="0">
                      <a:noFill/>
                    </a:lnB>
                    <a:noFill/>
                  </a:tcPr>
                </a:tc>
                <a:tc>
                  <a:txBody>
                    <a:bodyPr/>
                    <a:lstStyle/>
                    <a:p>
                      <a:pPr algn="l" fontAlgn="b"/>
                      <a:endParaRPr lang="es-CL" sz="14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931893654"/>
                  </a:ext>
                </a:extLst>
              </a:tr>
            </a:tbl>
          </a:graphicData>
        </a:graphic>
      </p:graphicFrame>
      <p:grpSp>
        <p:nvGrpSpPr>
          <p:cNvPr id="19" name="Grupo 18">
            <a:extLst>
              <a:ext uri="{FF2B5EF4-FFF2-40B4-BE49-F238E27FC236}">
                <a16:creationId xmlns:a16="http://schemas.microsoft.com/office/drawing/2014/main" id="{512FE3F2-F785-3921-C479-9CF46A9ACCFF}"/>
              </a:ext>
            </a:extLst>
          </p:cNvPr>
          <p:cNvGrpSpPr/>
          <p:nvPr/>
        </p:nvGrpSpPr>
        <p:grpSpPr>
          <a:xfrm>
            <a:off x="8486731" y="109828"/>
            <a:ext cx="1613258" cy="830802"/>
            <a:chOff x="9242105" y="249597"/>
            <a:chExt cx="1613258" cy="830802"/>
          </a:xfrm>
        </p:grpSpPr>
        <p:pic>
          <p:nvPicPr>
            <p:cNvPr id="20" name="Gráfico 19" descr="Harvey Balls 100% con relleno sólido">
              <a:extLst>
                <a:ext uri="{FF2B5EF4-FFF2-40B4-BE49-F238E27FC236}">
                  <a16:creationId xmlns:a16="http://schemas.microsoft.com/office/drawing/2014/main" id="{C0694162-2FF4-CD15-70BA-F1936E51FC0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42105" y="533241"/>
              <a:ext cx="250031" cy="250031"/>
            </a:xfrm>
            <a:prstGeom prst="rect">
              <a:avLst/>
            </a:prstGeom>
          </p:spPr>
        </p:pic>
        <p:sp>
          <p:nvSpPr>
            <p:cNvPr id="21" name="CuadroTexto 20">
              <a:extLst>
                <a:ext uri="{FF2B5EF4-FFF2-40B4-BE49-F238E27FC236}">
                  <a16:creationId xmlns:a16="http://schemas.microsoft.com/office/drawing/2014/main" id="{E11A4F48-EA07-DBDA-556D-A099E9CE236D}"/>
                </a:ext>
              </a:extLst>
            </p:cNvPr>
            <p:cNvSpPr txBox="1"/>
            <p:nvPr/>
          </p:nvSpPr>
          <p:spPr>
            <a:xfrm>
              <a:off x="9492136" y="251101"/>
              <a:ext cx="1363227" cy="276999"/>
            </a:xfrm>
            <a:prstGeom prst="rect">
              <a:avLst/>
            </a:prstGeom>
            <a:noFill/>
          </p:spPr>
          <p:txBody>
            <a:bodyPr wrap="square">
              <a:spAutoFit/>
            </a:bodyPr>
            <a:lstStyle/>
            <a:p>
              <a:r>
                <a:rPr lang="es-CL" sz="1200">
                  <a:solidFill>
                    <a:schemeClr val="bg2">
                      <a:lumMod val="25000"/>
                    </a:schemeClr>
                  </a:solidFill>
                  <a:latin typeface="gobCL"/>
                </a:rPr>
                <a:t>Completado</a:t>
              </a:r>
            </a:p>
          </p:txBody>
        </p:sp>
        <p:sp>
          <p:nvSpPr>
            <p:cNvPr id="22" name="CuadroTexto 21">
              <a:extLst>
                <a:ext uri="{FF2B5EF4-FFF2-40B4-BE49-F238E27FC236}">
                  <a16:creationId xmlns:a16="http://schemas.microsoft.com/office/drawing/2014/main" id="{EEE776FA-2D7D-6529-E65D-A964FA2544AD}"/>
                </a:ext>
              </a:extLst>
            </p:cNvPr>
            <p:cNvSpPr txBox="1"/>
            <p:nvPr/>
          </p:nvSpPr>
          <p:spPr>
            <a:xfrm>
              <a:off x="9492136" y="511862"/>
              <a:ext cx="1363227" cy="307777"/>
            </a:xfrm>
            <a:prstGeom prst="rect">
              <a:avLst/>
            </a:prstGeom>
            <a:noFill/>
          </p:spPr>
          <p:txBody>
            <a:bodyPr wrap="square">
              <a:spAutoFit/>
            </a:bodyPr>
            <a:lstStyle/>
            <a:p>
              <a:r>
                <a:rPr lang="es-CL" sz="1200">
                  <a:solidFill>
                    <a:schemeClr val="bg2">
                      <a:lumMod val="25000"/>
                    </a:schemeClr>
                  </a:solidFill>
                  <a:latin typeface="gobCL"/>
                </a:rPr>
                <a:t>En</a:t>
              </a:r>
              <a:r>
                <a:rPr lang="es-CL" sz="1400" b="0" i="0" u="none" strike="noStrike">
                  <a:solidFill>
                    <a:schemeClr val="bg2">
                      <a:lumMod val="25000"/>
                    </a:schemeClr>
                  </a:solidFill>
                  <a:effectLst/>
                  <a:latin typeface="gobCL"/>
                </a:rPr>
                <a:t> </a:t>
              </a:r>
              <a:r>
                <a:rPr lang="es-CL" sz="1200">
                  <a:solidFill>
                    <a:schemeClr val="bg2">
                      <a:lumMod val="25000"/>
                    </a:schemeClr>
                  </a:solidFill>
                  <a:latin typeface="gobCL"/>
                </a:rPr>
                <a:t>proceso</a:t>
              </a:r>
            </a:p>
          </p:txBody>
        </p:sp>
        <p:sp>
          <p:nvSpPr>
            <p:cNvPr id="23" name="CuadroTexto 22">
              <a:extLst>
                <a:ext uri="{FF2B5EF4-FFF2-40B4-BE49-F238E27FC236}">
                  <a16:creationId xmlns:a16="http://schemas.microsoft.com/office/drawing/2014/main" id="{9F84EF97-25ED-4B94-047F-F8864E1F7B81}"/>
                </a:ext>
              </a:extLst>
            </p:cNvPr>
            <p:cNvSpPr txBox="1"/>
            <p:nvPr/>
          </p:nvSpPr>
          <p:spPr>
            <a:xfrm>
              <a:off x="9492136" y="803400"/>
              <a:ext cx="1363227" cy="276999"/>
            </a:xfrm>
            <a:prstGeom prst="rect">
              <a:avLst/>
            </a:prstGeom>
            <a:noFill/>
          </p:spPr>
          <p:txBody>
            <a:bodyPr wrap="square">
              <a:spAutoFit/>
            </a:bodyPr>
            <a:lstStyle/>
            <a:p>
              <a:r>
                <a:rPr lang="es-CL" sz="1200">
                  <a:solidFill>
                    <a:schemeClr val="bg2">
                      <a:lumMod val="25000"/>
                    </a:schemeClr>
                  </a:solidFill>
                  <a:latin typeface="gobCL"/>
                </a:rPr>
                <a:t>Pendiente</a:t>
              </a:r>
            </a:p>
          </p:txBody>
        </p:sp>
        <p:pic>
          <p:nvPicPr>
            <p:cNvPr id="24" name="Gráfico 23" descr="Harvey Balls 100% con relleno sólido">
              <a:extLst>
                <a:ext uri="{FF2B5EF4-FFF2-40B4-BE49-F238E27FC236}">
                  <a16:creationId xmlns:a16="http://schemas.microsoft.com/office/drawing/2014/main" id="{9A476951-C11C-FFDC-F358-6138F9A47C3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42105" y="816885"/>
              <a:ext cx="250031" cy="250031"/>
            </a:xfrm>
            <a:prstGeom prst="rect">
              <a:avLst/>
            </a:prstGeom>
          </p:spPr>
        </p:pic>
        <p:pic>
          <p:nvPicPr>
            <p:cNvPr id="25" name="Gráfico 24" descr="Harvey Balls 100% con relleno sólido">
              <a:extLst>
                <a:ext uri="{FF2B5EF4-FFF2-40B4-BE49-F238E27FC236}">
                  <a16:creationId xmlns:a16="http://schemas.microsoft.com/office/drawing/2014/main" id="{2016EEA6-A89B-1FA6-323D-3CDEABB363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242105" y="249597"/>
              <a:ext cx="250031" cy="250031"/>
            </a:xfrm>
            <a:prstGeom prst="rect">
              <a:avLst/>
            </a:prstGeom>
          </p:spPr>
        </p:pic>
      </p:grpSp>
      <p:pic>
        <p:nvPicPr>
          <p:cNvPr id="28" name="Gráfico 27" descr="Harvey Balls 100% con relleno sólido">
            <a:extLst>
              <a:ext uri="{FF2B5EF4-FFF2-40B4-BE49-F238E27FC236}">
                <a16:creationId xmlns:a16="http://schemas.microsoft.com/office/drawing/2014/main" id="{828A58F4-3151-F364-004C-8380B0CE5C2F}"/>
              </a:ext>
            </a:extLst>
          </p:cNvPr>
          <p:cNvPicPr>
            <a:picLocks noChangeAspect="1"/>
          </p:cNvPicPr>
          <p:nvPr/>
        </p:nvPicPr>
        <p:blipFill>
          <a:blip r:embed="rId6">
            <a:extLst>
              <a:ext uri="{96DAC541-7B7A-43D3-8B79-37D633B846F1}">
                <asvg:svgBlip xmlns:asvg="http://schemas.microsoft.com/office/drawing/2016/SVG/main" r:embed="rId8"/>
              </a:ext>
            </a:extLst>
          </a:blip>
          <a:stretch>
            <a:fillRect/>
          </a:stretch>
        </p:blipFill>
        <p:spPr>
          <a:xfrm>
            <a:off x="10351770" y="1865581"/>
            <a:ext cx="351110" cy="351110"/>
          </a:xfrm>
          <a:prstGeom prst="rect">
            <a:avLst/>
          </a:prstGeom>
        </p:spPr>
      </p:pic>
      <p:pic>
        <p:nvPicPr>
          <p:cNvPr id="4" name="Gráfico 3" descr="Harvey Balls 100% con relleno sólido">
            <a:extLst>
              <a:ext uri="{FF2B5EF4-FFF2-40B4-BE49-F238E27FC236}">
                <a16:creationId xmlns:a16="http://schemas.microsoft.com/office/drawing/2014/main" id="{10FC28CC-EB2F-E1ED-4F1D-88AC34BB5379}"/>
              </a:ext>
            </a:extLst>
          </p:cNvPr>
          <p:cNvPicPr>
            <a:picLocks noChangeAspect="1"/>
          </p:cNvPicPr>
          <p:nvPr/>
        </p:nvPicPr>
        <p:blipFill>
          <a:blip r:embed="rId6">
            <a:extLst>
              <a:ext uri="{96DAC541-7B7A-43D3-8B79-37D633B846F1}">
                <asvg:svgBlip xmlns:asvg="http://schemas.microsoft.com/office/drawing/2016/SVG/main" r:embed="rId8"/>
              </a:ext>
            </a:extLst>
          </a:blip>
          <a:stretch>
            <a:fillRect/>
          </a:stretch>
        </p:blipFill>
        <p:spPr>
          <a:xfrm>
            <a:off x="10351770" y="2586860"/>
            <a:ext cx="351110" cy="351110"/>
          </a:xfrm>
          <a:prstGeom prst="rect">
            <a:avLst/>
          </a:prstGeom>
        </p:spPr>
      </p:pic>
      <p:pic>
        <p:nvPicPr>
          <p:cNvPr id="7" name="Gráfico 3" descr="Harvey Balls 100% con relleno sólido">
            <a:extLst>
              <a:ext uri="{FF2B5EF4-FFF2-40B4-BE49-F238E27FC236}">
                <a16:creationId xmlns:a16="http://schemas.microsoft.com/office/drawing/2014/main" id="{579DCA88-5581-2E8C-DFA0-D177060DD68C}"/>
              </a:ext>
            </a:extLst>
          </p:cNvPr>
          <p:cNvPicPr>
            <a:picLocks noChangeAspect="1"/>
          </p:cNvPicPr>
          <p:nvPr/>
        </p:nvPicPr>
        <p:blipFill>
          <a:blip r:embed="rId6">
            <a:extLst>
              <a:ext uri="{96DAC541-7B7A-43D3-8B79-37D633B846F1}">
                <asvg:svgBlip xmlns:asvg="http://schemas.microsoft.com/office/drawing/2016/SVG/main" r:embed="rId8"/>
              </a:ext>
            </a:extLst>
          </a:blip>
          <a:stretch>
            <a:fillRect/>
          </a:stretch>
        </p:blipFill>
        <p:spPr>
          <a:xfrm>
            <a:off x="10351770" y="3289958"/>
            <a:ext cx="351110" cy="351110"/>
          </a:xfrm>
          <a:prstGeom prst="rect">
            <a:avLst/>
          </a:prstGeom>
        </p:spPr>
      </p:pic>
      <p:pic>
        <p:nvPicPr>
          <p:cNvPr id="8" name="Gráfico 3" descr="Harvey Balls 100% con relleno sólido">
            <a:extLst>
              <a:ext uri="{FF2B5EF4-FFF2-40B4-BE49-F238E27FC236}">
                <a16:creationId xmlns:a16="http://schemas.microsoft.com/office/drawing/2014/main" id="{07C83373-38A6-4A8F-918C-4DF622774B44}"/>
              </a:ext>
            </a:extLst>
          </p:cNvPr>
          <p:cNvPicPr>
            <a:picLocks noChangeAspect="1"/>
          </p:cNvPicPr>
          <p:nvPr/>
        </p:nvPicPr>
        <p:blipFill>
          <a:blip r:embed="rId6">
            <a:extLst>
              <a:ext uri="{96DAC541-7B7A-43D3-8B79-37D633B846F1}">
                <asvg:svgBlip xmlns:asvg="http://schemas.microsoft.com/office/drawing/2016/SVG/main" r:embed="rId8"/>
              </a:ext>
            </a:extLst>
          </a:blip>
          <a:stretch>
            <a:fillRect/>
          </a:stretch>
        </p:blipFill>
        <p:spPr>
          <a:xfrm>
            <a:off x="10351770" y="3950190"/>
            <a:ext cx="351110" cy="351110"/>
          </a:xfrm>
          <a:prstGeom prst="rect">
            <a:avLst/>
          </a:prstGeom>
        </p:spPr>
      </p:pic>
      <p:pic>
        <p:nvPicPr>
          <p:cNvPr id="9" name="Gráfico 3" descr="Harvey Balls 100% con relleno sólido">
            <a:extLst>
              <a:ext uri="{FF2B5EF4-FFF2-40B4-BE49-F238E27FC236}">
                <a16:creationId xmlns:a16="http://schemas.microsoft.com/office/drawing/2014/main" id="{C6FADDC9-287C-2141-6E52-9AF85B387DCE}"/>
              </a:ext>
            </a:extLst>
          </p:cNvPr>
          <p:cNvPicPr>
            <a:picLocks noChangeAspect="1"/>
          </p:cNvPicPr>
          <p:nvPr/>
        </p:nvPicPr>
        <p:blipFill>
          <a:blip r:embed="rId6">
            <a:extLst>
              <a:ext uri="{96DAC541-7B7A-43D3-8B79-37D633B846F1}">
                <asvg:svgBlip xmlns:asvg="http://schemas.microsoft.com/office/drawing/2016/SVG/main" r:embed="rId8"/>
              </a:ext>
            </a:extLst>
          </a:blip>
          <a:stretch>
            <a:fillRect/>
          </a:stretch>
        </p:blipFill>
        <p:spPr>
          <a:xfrm>
            <a:off x="10351770" y="4894071"/>
            <a:ext cx="351110" cy="351110"/>
          </a:xfrm>
          <a:prstGeom prst="rect">
            <a:avLst/>
          </a:prstGeom>
        </p:spPr>
      </p:pic>
    </p:spTree>
    <p:extLst>
      <p:ext uri="{BB962C8B-B14F-4D97-AF65-F5344CB8AC3E}">
        <p14:creationId xmlns:p14="http://schemas.microsoft.com/office/powerpoint/2010/main" val="41085017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66AE1B3-A580-482F-9F24-45B1B9245A2F}"/>
              </a:ext>
            </a:extLst>
          </p:cNvPr>
          <p:cNvSpPr>
            <a:spLocks noGrp="1"/>
          </p:cNvSpPr>
          <p:nvPr>
            <p:ph type="title"/>
          </p:nvPr>
        </p:nvSpPr>
        <p:spPr>
          <a:xfrm>
            <a:off x="569527" y="288072"/>
            <a:ext cx="10515600" cy="639586"/>
          </a:xfrm>
        </p:spPr>
        <p:txBody>
          <a:bodyPr>
            <a:normAutofit/>
          </a:bodyPr>
          <a:lstStyle/>
          <a:p>
            <a:r>
              <a:rPr lang="es-ES" sz="2800" b="1">
                <a:solidFill>
                  <a:srgbClr val="1F4E79"/>
                </a:solidFill>
                <a:latin typeface="gobCL"/>
                <a:ea typeface="+mn-ea"/>
                <a:cs typeface="+mn-cs"/>
              </a:rPr>
              <a:t>Mesas Transversales</a:t>
            </a:r>
            <a:endParaRPr lang="es-CL" sz="2800" b="1">
              <a:solidFill>
                <a:srgbClr val="1F4E79"/>
              </a:solidFill>
              <a:latin typeface="gobCL"/>
              <a:ea typeface="+mn-ea"/>
              <a:cs typeface="+mn-cs"/>
            </a:endParaRPr>
          </a:p>
        </p:txBody>
      </p:sp>
      <p:sp>
        <p:nvSpPr>
          <p:cNvPr id="5" name="Elipse 4">
            <a:extLst>
              <a:ext uri="{FF2B5EF4-FFF2-40B4-BE49-F238E27FC236}">
                <a16:creationId xmlns:a16="http://schemas.microsoft.com/office/drawing/2014/main" id="{C75B7C43-8DF4-4FF8-CDAA-78D79794023C}"/>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 name="Marcador de número de diapositiva 2">
            <a:extLst>
              <a:ext uri="{FF2B5EF4-FFF2-40B4-BE49-F238E27FC236}">
                <a16:creationId xmlns:a16="http://schemas.microsoft.com/office/drawing/2014/main" id="{EFE71632-71DE-2A54-64EA-E99EEEC99809}"/>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45</a:t>
            </a:fld>
            <a:endParaRPr lang="en-US" b="1">
              <a:solidFill>
                <a:schemeClr val="bg1"/>
              </a:solidFill>
              <a:latin typeface="Calibri"/>
              <a:ea typeface="ヒラギノ角ゴ Pro W3"/>
              <a:cs typeface="Calibri"/>
            </a:endParaRPr>
          </a:p>
        </p:txBody>
      </p:sp>
      <p:graphicFrame>
        <p:nvGraphicFramePr>
          <p:cNvPr id="3" name="Tabla 2">
            <a:extLst>
              <a:ext uri="{FF2B5EF4-FFF2-40B4-BE49-F238E27FC236}">
                <a16:creationId xmlns:a16="http://schemas.microsoft.com/office/drawing/2014/main" id="{9220FDDA-5187-89D4-426E-54589DFC76B5}"/>
              </a:ext>
            </a:extLst>
          </p:cNvPr>
          <p:cNvGraphicFramePr>
            <a:graphicFrameLocks noGrp="1"/>
          </p:cNvGraphicFramePr>
          <p:nvPr>
            <p:extLst>
              <p:ext uri="{D42A27DB-BD31-4B8C-83A1-F6EECF244321}">
                <p14:modId xmlns:p14="http://schemas.microsoft.com/office/powerpoint/2010/main" val="680350952"/>
              </p:ext>
            </p:extLst>
          </p:nvPr>
        </p:nvGraphicFramePr>
        <p:xfrm>
          <a:off x="622300" y="1390310"/>
          <a:ext cx="10287000" cy="2038690"/>
        </p:xfrm>
        <a:graphic>
          <a:graphicData uri="http://schemas.openxmlformats.org/drawingml/2006/table">
            <a:tbl>
              <a:tblPr firstRow="1" bandRow="1">
                <a:tableStyleId>{B301B821-A1FF-4177-AEE7-76D212191A09}</a:tableStyleId>
              </a:tblPr>
              <a:tblGrid>
                <a:gridCol w="9461500">
                  <a:extLst>
                    <a:ext uri="{9D8B030D-6E8A-4147-A177-3AD203B41FA5}">
                      <a16:colId xmlns:a16="http://schemas.microsoft.com/office/drawing/2014/main" val="265563881"/>
                    </a:ext>
                  </a:extLst>
                </a:gridCol>
                <a:gridCol w="825500">
                  <a:extLst>
                    <a:ext uri="{9D8B030D-6E8A-4147-A177-3AD203B41FA5}">
                      <a16:colId xmlns:a16="http://schemas.microsoft.com/office/drawing/2014/main" val="701581697"/>
                    </a:ext>
                  </a:extLst>
                </a:gridCol>
              </a:tblGrid>
              <a:tr h="368005">
                <a:tc>
                  <a:txBody>
                    <a:bodyPr/>
                    <a:lstStyle/>
                    <a:p>
                      <a:pPr algn="ctr" fontAlgn="b"/>
                      <a:r>
                        <a:rPr lang="es-ES" sz="2000" u="none" strike="noStrike">
                          <a:effectLst/>
                          <a:latin typeface="gobCL"/>
                        </a:rPr>
                        <a:t>SALUD MENTAL (RECUPERACION)</a:t>
                      </a:r>
                    </a:p>
                  </a:txBody>
                  <a:tcPr marL="8601" marR="8601" marT="8601" marB="0" anchor="ctr">
                    <a:lnL w="0">
                      <a:noFill/>
                    </a:lnL>
                    <a:lnR w="0">
                      <a:noFill/>
                    </a:lnR>
                    <a:lnT w="0">
                      <a:noFill/>
                    </a:lnT>
                    <a:lnB w="0">
                      <a:noFill/>
                    </a:lnB>
                    <a:solidFill>
                      <a:srgbClr val="1F4E79"/>
                    </a:solidFill>
                  </a:tcPr>
                </a:tc>
                <a:tc>
                  <a:txBody>
                    <a:bodyPr/>
                    <a:lstStyle/>
                    <a:p>
                      <a:pPr algn="ctr" fontAlgn="b"/>
                      <a:endParaRPr lang="es-CL" sz="1400" u="none" strike="noStrike">
                        <a:effectLst/>
                        <a:latin typeface="gobCL" pitchFamily="50" charset="0"/>
                      </a:endParaRPr>
                    </a:p>
                  </a:txBody>
                  <a:tcPr marL="8601" marR="8601" marT="8601" marB="0" anchor="ctr">
                    <a:lnL w="0">
                      <a:noFill/>
                    </a:lnL>
                    <a:lnR w="0">
                      <a:noFill/>
                    </a:lnR>
                    <a:lnT w="0">
                      <a:noFill/>
                    </a:lnT>
                    <a:lnB w="0">
                      <a:noFill/>
                    </a:lnB>
                    <a:solidFill>
                      <a:srgbClr val="1F4E79"/>
                    </a:solidFill>
                  </a:tcPr>
                </a:tc>
                <a:extLst>
                  <a:ext uri="{0D108BD9-81ED-4DB2-BD59-A6C34878D82A}">
                    <a16:rowId xmlns:a16="http://schemas.microsoft.com/office/drawing/2014/main" val="421966448"/>
                  </a:ext>
                </a:extLst>
              </a:tr>
              <a:tr h="838200">
                <a:tc>
                  <a:txBody>
                    <a:bodyPr/>
                    <a:lstStyle/>
                    <a:p>
                      <a:pPr marL="0" lvl="0" indent="0" algn="l">
                        <a:lnSpc>
                          <a:spcPct val="100000"/>
                        </a:lnSpc>
                        <a:buNone/>
                      </a:pPr>
                      <a:r>
                        <a:rPr lang="es-ES" sz="1800" b="0" i="0" u="none" strike="noStrike" kern="1200" baseline="0" noProof="0">
                          <a:solidFill>
                            <a:srgbClr val="1A507C"/>
                          </a:solidFill>
                          <a:effectLst/>
                          <a:latin typeface="gobCL"/>
                        </a:rPr>
                        <a:t>C15: Proveer de orientaciones y capacitación para la implementación de procedimientos y medidas de reintegro al trabajo al sector salud, en base a Guía ISP.</a:t>
                      </a:r>
                    </a:p>
                  </a:txBody>
                  <a:tcPr marL="9525" marR="9525" marT="9525" marB="0" anchor="ctr">
                    <a:lnL w="0">
                      <a:noFill/>
                    </a:lnL>
                    <a:lnR w="0">
                      <a:noFill/>
                    </a:lnR>
                    <a:lnT w="0">
                      <a:noFill/>
                    </a:lnT>
                    <a:lnB w="0">
                      <a:noFill/>
                    </a:lnB>
                    <a:noFill/>
                  </a:tcPr>
                </a:tc>
                <a:tc>
                  <a:txBody>
                    <a:bodyPr/>
                    <a:lstStyle/>
                    <a:p>
                      <a:pPr algn="l" fontAlgn="b"/>
                      <a:endParaRPr lang="es-CL" sz="14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4185762679"/>
                  </a:ext>
                </a:extLst>
              </a:tr>
              <a:tr h="558209">
                <a:tc>
                  <a:txBody>
                    <a:bodyPr/>
                    <a:lstStyle/>
                    <a:p>
                      <a:pPr marL="0" lvl="0" indent="0" algn="l">
                        <a:lnSpc>
                          <a:spcPct val="100000"/>
                        </a:lnSpc>
                        <a:buNone/>
                      </a:pPr>
                      <a:r>
                        <a:rPr lang="es-ES" sz="1800" b="0" i="0" u="none" strike="noStrike" kern="1200" baseline="0" noProof="0">
                          <a:solidFill>
                            <a:srgbClr val="1A507C"/>
                          </a:solidFill>
                          <a:effectLst/>
                          <a:latin typeface="gobCL"/>
                        </a:rPr>
                        <a:t>C16: En el marco de los acuerdos alcanzados por esta Mesa de Trabajo, se proyectarán las acciones que permitan fortalecer los dispositivos y sistemas de gobernanza de Salud Mental, de forma transversal en los distintos sectores de la administración central, descentralizada y autónoma.</a:t>
                      </a:r>
                      <a:endParaRPr lang="en-US"/>
                    </a:p>
                  </a:txBody>
                  <a:tcPr marL="9525" marR="9525" marT="9525" marB="0" anchor="ctr">
                    <a:lnL w="0">
                      <a:noFill/>
                    </a:lnL>
                    <a:lnR w="0">
                      <a:noFill/>
                    </a:lnR>
                    <a:lnT w="0">
                      <a:noFill/>
                    </a:lnT>
                    <a:lnB w="0">
                      <a:noFill/>
                    </a:lnB>
                    <a:noFill/>
                  </a:tcPr>
                </a:tc>
                <a:tc>
                  <a:txBody>
                    <a:bodyPr/>
                    <a:lstStyle/>
                    <a:p>
                      <a:pPr algn="l" fontAlgn="b"/>
                      <a:endParaRPr lang="es-CL" sz="14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2702772006"/>
                  </a:ext>
                </a:extLst>
              </a:tr>
            </a:tbl>
          </a:graphicData>
        </a:graphic>
      </p:graphicFrame>
      <p:grpSp>
        <p:nvGrpSpPr>
          <p:cNvPr id="19" name="Grupo 18">
            <a:extLst>
              <a:ext uri="{FF2B5EF4-FFF2-40B4-BE49-F238E27FC236}">
                <a16:creationId xmlns:a16="http://schemas.microsoft.com/office/drawing/2014/main" id="{512FE3F2-F785-3921-C479-9CF46A9ACCFF}"/>
              </a:ext>
            </a:extLst>
          </p:cNvPr>
          <p:cNvGrpSpPr/>
          <p:nvPr/>
        </p:nvGrpSpPr>
        <p:grpSpPr>
          <a:xfrm>
            <a:off x="8486731" y="109828"/>
            <a:ext cx="1613258" cy="830802"/>
            <a:chOff x="9242105" y="249597"/>
            <a:chExt cx="1613258" cy="830802"/>
          </a:xfrm>
        </p:grpSpPr>
        <p:pic>
          <p:nvPicPr>
            <p:cNvPr id="20" name="Gráfico 19" descr="Harvey Balls 100% con relleno sólido">
              <a:extLst>
                <a:ext uri="{FF2B5EF4-FFF2-40B4-BE49-F238E27FC236}">
                  <a16:creationId xmlns:a16="http://schemas.microsoft.com/office/drawing/2014/main" id="{C0694162-2FF4-CD15-70BA-F1936E51FC0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42105" y="533241"/>
              <a:ext cx="250031" cy="250031"/>
            </a:xfrm>
            <a:prstGeom prst="rect">
              <a:avLst/>
            </a:prstGeom>
          </p:spPr>
        </p:pic>
        <p:sp>
          <p:nvSpPr>
            <p:cNvPr id="21" name="CuadroTexto 20">
              <a:extLst>
                <a:ext uri="{FF2B5EF4-FFF2-40B4-BE49-F238E27FC236}">
                  <a16:creationId xmlns:a16="http://schemas.microsoft.com/office/drawing/2014/main" id="{E11A4F48-EA07-DBDA-556D-A099E9CE236D}"/>
                </a:ext>
              </a:extLst>
            </p:cNvPr>
            <p:cNvSpPr txBox="1"/>
            <p:nvPr/>
          </p:nvSpPr>
          <p:spPr>
            <a:xfrm>
              <a:off x="9492136" y="251101"/>
              <a:ext cx="1363227" cy="276999"/>
            </a:xfrm>
            <a:prstGeom prst="rect">
              <a:avLst/>
            </a:prstGeom>
            <a:noFill/>
          </p:spPr>
          <p:txBody>
            <a:bodyPr wrap="square">
              <a:spAutoFit/>
            </a:bodyPr>
            <a:lstStyle/>
            <a:p>
              <a:r>
                <a:rPr lang="es-CL" sz="1200">
                  <a:solidFill>
                    <a:schemeClr val="bg2">
                      <a:lumMod val="25000"/>
                    </a:schemeClr>
                  </a:solidFill>
                  <a:latin typeface="gobCL"/>
                </a:rPr>
                <a:t>Completado</a:t>
              </a:r>
            </a:p>
          </p:txBody>
        </p:sp>
        <p:sp>
          <p:nvSpPr>
            <p:cNvPr id="22" name="CuadroTexto 21">
              <a:extLst>
                <a:ext uri="{FF2B5EF4-FFF2-40B4-BE49-F238E27FC236}">
                  <a16:creationId xmlns:a16="http://schemas.microsoft.com/office/drawing/2014/main" id="{EEE776FA-2D7D-6529-E65D-A964FA2544AD}"/>
                </a:ext>
              </a:extLst>
            </p:cNvPr>
            <p:cNvSpPr txBox="1"/>
            <p:nvPr/>
          </p:nvSpPr>
          <p:spPr>
            <a:xfrm>
              <a:off x="9492136" y="511862"/>
              <a:ext cx="1363227" cy="307777"/>
            </a:xfrm>
            <a:prstGeom prst="rect">
              <a:avLst/>
            </a:prstGeom>
            <a:noFill/>
          </p:spPr>
          <p:txBody>
            <a:bodyPr wrap="square">
              <a:spAutoFit/>
            </a:bodyPr>
            <a:lstStyle/>
            <a:p>
              <a:r>
                <a:rPr lang="es-CL" sz="1200">
                  <a:solidFill>
                    <a:schemeClr val="bg2">
                      <a:lumMod val="25000"/>
                    </a:schemeClr>
                  </a:solidFill>
                  <a:latin typeface="gobCL"/>
                </a:rPr>
                <a:t>En</a:t>
              </a:r>
              <a:r>
                <a:rPr lang="es-CL" sz="1400" b="0" i="0" u="none" strike="noStrike">
                  <a:solidFill>
                    <a:schemeClr val="bg2">
                      <a:lumMod val="25000"/>
                    </a:schemeClr>
                  </a:solidFill>
                  <a:effectLst/>
                  <a:latin typeface="gobCL"/>
                </a:rPr>
                <a:t> </a:t>
              </a:r>
              <a:r>
                <a:rPr lang="es-CL" sz="1200">
                  <a:solidFill>
                    <a:schemeClr val="bg2">
                      <a:lumMod val="25000"/>
                    </a:schemeClr>
                  </a:solidFill>
                  <a:latin typeface="gobCL"/>
                </a:rPr>
                <a:t>proceso</a:t>
              </a:r>
            </a:p>
          </p:txBody>
        </p:sp>
        <p:sp>
          <p:nvSpPr>
            <p:cNvPr id="23" name="CuadroTexto 22">
              <a:extLst>
                <a:ext uri="{FF2B5EF4-FFF2-40B4-BE49-F238E27FC236}">
                  <a16:creationId xmlns:a16="http://schemas.microsoft.com/office/drawing/2014/main" id="{9F84EF97-25ED-4B94-047F-F8864E1F7B81}"/>
                </a:ext>
              </a:extLst>
            </p:cNvPr>
            <p:cNvSpPr txBox="1"/>
            <p:nvPr/>
          </p:nvSpPr>
          <p:spPr>
            <a:xfrm>
              <a:off x="9492136" y="803400"/>
              <a:ext cx="1363227" cy="276999"/>
            </a:xfrm>
            <a:prstGeom prst="rect">
              <a:avLst/>
            </a:prstGeom>
            <a:noFill/>
          </p:spPr>
          <p:txBody>
            <a:bodyPr wrap="square">
              <a:spAutoFit/>
            </a:bodyPr>
            <a:lstStyle/>
            <a:p>
              <a:r>
                <a:rPr lang="es-CL" sz="1200">
                  <a:solidFill>
                    <a:schemeClr val="bg2">
                      <a:lumMod val="25000"/>
                    </a:schemeClr>
                  </a:solidFill>
                  <a:latin typeface="gobCL"/>
                </a:rPr>
                <a:t>Pendiente</a:t>
              </a:r>
            </a:p>
          </p:txBody>
        </p:sp>
        <p:pic>
          <p:nvPicPr>
            <p:cNvPr id="24" name="Gráfico 23" descr="Harvey Balls 100% con relleno sólido">
              <a:extLst>
                <a:ext uri="{FF2B5EF4-FFF2-40B4-BE49-F238E27FC236}">
                  <a16:creationId xmlns:a16="http://schemas.microsoft.com/office/drawing/2014/main" id="{9A476951-C11C-FFDC-F358-6138F9A47C3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42105" y="816885"/>
              <a:ext cx="250031" cy="250031"/>
            </a:xfrm>
            <a:prstGeom prst="rect">
              <a:avLst/>
            </a:prstGeom>
          </p:spPr>
        </p:pic>
        <p:pic>
          <p:nvPicPr>
            <p:cNvPr id="25" name="Gráfico 24" descr="Harvey Balls 100% con relleno sólido">
              <a:extLst>
                <a:ext uri="{FF2B5EF4-FFF2-40B4-BE49-F238E27FC236}">
                  <a16:creationId xmlns:a16="http://schemas.microsoft.com/office/drawing/2014/main" id="{2016EEA6-A89B-1FA6-323D-3CDEABB363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242105" y="249597"/>
              <a:ext cx="250031" cy="250031"/>
            </a:xfrm>
            <a:prstGeom prst="rect">
              <a:avLst/>
            </a:prstGeom>
          </p:spPr>
        </p:pic>
      </p:grpSp>
      <p:pic>
        <p:nvPicPr>
          <p:cNvPr id="9" name="Gráfico 26" descr="Harvey Balls 100% con relleno sólido">
            <a:extLst>
              <a:ext uri="{FF2B5EF4-FFF2-40B4-BE49-F238E27FC236}">
                <a16:creationId xmlns:a16="http://schemas.microsoft.com/office/drawing/2014/main" id="{BC9E0BF6-0FEA-1B9F-1734-939A1DCEF0F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385938" y="2579932"/>
            <a:ext cx="351110" cy="351110"/>
          </a:xfrm>
          <a:prstGeom prst="rect">
            <a:avLst/>
          </a:prstGeom>
        </p:spPr>
      </p:pic>
      <p:pic>
        <p:nvPicPr>
          <p:cNvPr id="4" name="Gráfico 3" descr="Harvey Balls 100% con relleno sólido">
            <a:extLst>
              <a:ext uri="{FF2B5EF4-FFF2-40B4-BE49-F238E27FC236}">
                <a16:creationId xmlns:a16="http://schemas.microsoft.com/office/drawing/2014/main" id="{EEF51097-0D37-FEE6-D889-FD837C7DFCC3}"/>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399364" y="1851421"/>
            <a:ext cx="351110" cy="351110"/>
          </a:xfrm>
          <a:prstGeom prst="rect">
            <a:avLst/>
          </a:prstGeom>
        </p:spPr>
      </p:pic>
    </p:spTree>
    <p:extLst>
      <p:ext uri="{BB962C8B-B14F-4D97-AF65-F5344CB8AC3E}">
        <p14:creationId xmlns:p14="http://schemas.microsoft.com/office/powerpoint/2010/main" val="74595800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66AE1B3-A580-482F-9F24-45B1B9245A2F}"/>
              </a:ext>
            </a:extLst>
          </p:cNvPr>
          <p:cNvSpPr>
            <a:spLocks noGrp="1"/>
          </p:cNvSpPr>
          <p:nvPr>
            <p:ph type="title"/>
          </p:nvPr>
        </p:nvSpPr>
        <p:spPr>
          <a:xfrm>
            <a:off x="574934" y="305928"/>
            <a:ext cx="10515600" cy="639586"/>
          </a:xfrm>
        </p:spPr>
        <p:txBody>
          <a:bodyPr>
            <a:normAutofit/>
          </a:bodyPr>
          <a:lstStyle/>
          <a:p>
            <a:r>
              <a:rPr lang="es-ES" sz="2800" b="1">
                <a:solidFill>
                  <a:srgbClr val="1F4E79"/>
                </a:solidFill>
                <a:latin typeface="gobCL"/>
                <a:ea typeface="+mn-ea"/>
                <a:cs typeface="+mn-cs"/>
              </a:rPr>
              <a:t>Mesas Transversales – Salud Mental</a:t>
            </a:r>
            <a:endParaRPr lang="es-CL" sz="2800" b="1">
              <a:solidFill>
                <a:srgbClr val="1F4E79"/>
              </a:solidFill>
              <a:latin typeface="gobCL"/>
              <a:ea typeface="+mn-ea"/>
              <a:cs typeface="+mn-cs"/>
            </a:endParaRPr>
          </a:p>
        </p:txBody>
      </p:sp>
      <p:sp>
        <p:nvSpPr>
          <p:cNvPr id="5" name="Elipse 4">
            <a:extLst>
              <a:ext uri="{FF2B5EF4-FFF2-40B4-BE49-F238E27FC236}">
                <a16:creationId xmlns:a16="http://schemas.microsoft.com/office/drawing/2014/main" id="{C75B7C43-8DF4-4FF8-CDAA-78D79794023C}"/>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 name="Marcador de número de diapositiva 2">
            <a:extLst>
              <a:ext uri="{FF2B5EF4-FFF2-40B4-BE49-F238E27FC236}">
                <a16:creationId xmlns:a16="http://schemas.microsoft.com/office/drawing/2014/main" id="{EFE71632-71DE-2A54-64EA-E99EEEC99809}"/>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46</a:t>
            </a:fld>
            <a:endParaRPr lang="en-US" b="1">
              <a:solidFill>
                <a:schemeClr val="bg1"/>
              </a:solidFill>
              <a:latin typeface="Calibri"/>
              <a:ea typeface="ヒラギノ角ゴ Pro W3"/>
              <a:cs typeface="Calibri"/>
            </a:endParaRPr>
          </a:p>
        </p:txBody>
      </p:sp>
      <p:graphicFrame>
        <p:nvGraphicFramePr>
          <p:cNvPr id="3" name="Tabla 2">
            <a:extLst>
              <a:ext uri="{FF2B5EF4-FFF2-40B4-BE49-F238E27FC236}">
                <a16:creationId xmlns:a16="http://schemas.microsoft.com/office/drawing/2014/main" id="{9220FDDA-5187-89D4-426E-54589DFC76B5}"/>
              </a:ext>
            </a:extLst>
          </p:cNvPr>
          <p:cNvGraphicFramePr>
            <a:graphicFrameLocks noGrp="1"/>
          </p:cNvGraphicFramePr>
          <p:nvPr>
            <p:extLst>
              <p:ext uri="{D42A27DB-BD31-4B8C-83A1-F6EECF244321}">
                <p14:modId xmlns:p14="http://schemas.microsoft.com/office/powerpoint/2010/main" val="4064397397"/>
              </p:ext>
            </p:extLst>
          </p:nvPr>
        </p:nvGraphicFramePr>
        <p:xfrm>
          <a:off x="622300" y="1200596"/>
          <a:ext cx="10363200" cy="5176174"/>
        </p:xfrm>
        <a:graphic>
          <a:graphicData uri="http://schemas.openxmlformats.org/drawingml/2006/table">
            <a:tbl>
              <a:tblPr firstRow="1" bandRow="1">
                <a:tableStyleId>{B301B821-A1FF-4177-AEE7-76D212191A09}</a:tableStyleId>
              </a:tblPr>
              <a:tblGrid>
                <a:gridCol w="4432300">
                  <a:extLst>
                    <a:ext uri="{9D8B030D-6E8A-4147-A177-3AD203B41FA5}">
                      <a16:colId xmlns:a16="http://schemas.microsoft.com/office/drawing/2014/main" val="265563881"/>
                    </a:ext>
                  </a:extLst>
                </a:gridCol>
                <a:gridCol w="355600">
                  <a:extLst>
                    <a:ext uri="{9D8B030D-6E8A-4147-A177-3AD203B41FA5}">
                      <a16:colId xmlns:a16="http://schemas.microsoft.com/office/drawing/2014/main" val="701581697"/>
                    </a:ext>
                  </a:extLst>
                </a:gridCol>
                <a:gridCol w="2299192">
                  <a:extLst>
                    <a:ext uri="{9D8B030D-6E8A-4147-A177-3AD203B41FA5}">
                      <a16:colId xmlns:a16="http://schemas.microsoft.com/office/drawing/2014/main" val="278011450"/>
                    </a:ext>
                  </a:extLst>
                </a:gridCol>
                <a:gridCol w="573030">
                  <a:extLst>
                    <a:ext uri="{9D8B030D-6E8A-4147-A177-3AD203B41FA5}">
                      <a16:colId xmlns:a16="http://schemas.microsoft.com/office/drawing/2014/main" val="1104125978"/>
                    </a:ext>
                  </a:extLst>
                </a:gridCol>
                <a:gridCol w="2186352">
                  <a:extLst>
                    <a:ext uri="{9D8B030D-6E8A-4147-A177-3AD203B41FA5}">
                      <a16:colId xmlns:a16="http://schemas.microsoft.com/office/drawing/2014/main" val="3673482179"/>
                    </a:ext>
                  </a:extLst>
                </a:gridCol>
                <a:gridCol w="516726">
                  <a:extLst>
                    <a:ext uri="{9D8B030D-6E8A-4147-A177-3AD203B41FA5}">
                      <a16:colId xmlns:a16="http://schemas.microsoft.com/office/drawing/2014/main" val="2928867167"/>
                    </a:ext>
                  </a:extLst>
                </a:gridCol>
              </a:tblGrid>
              <a:tr h="314208">
                <a:tc gridSpan="6">
                  <a:txBody>
                    <a:bodyPr/>
                    <a:lstStyle/>
                    <a:p>
                      <a:pPr algn="ctr" fontAlgn="b"/>
                      <a:r>
                        <a:rPr lang="es-CL" sz="1800" b="1" u="none" strike="noStrike">
                          <a:solidFill>
                            <a:schemeClr val="bg1"/>
                          </a:solidFill>
                          <a:effectLst/>
                          <a:latin typeface="gobCL"/>
                        </a:rPr>
                        <a:t>SALUD MENTAL (16)</a:t>
                      </a:r>
                    </a:p>
                  </a:txBody>
                  <a:tcPr marL="8601" marR="8601" marT="8601" marB="0" anchor="ctr">
                    <a:lnL w="0">
                      <a:noFill/>
                    </a:lnL>
                    <a:lnR w="0">
                      <a:noFill/>
                    </a:lnR>
                    <a:lnT w="0">
                      <a:noFill/>
                    </a:lnT>
                    <a:lnB w="0">
                      <a:noFill/>
                    </a:lnB>
                    <a:solidFill>
                      <a:srgbClr val="004677"/>
                    </a:solidFill>
                  </a:tcPr>
                </a:tc>
                <a:tc hMerge="1">
                  <a:txBody>
                    <a:bodyPr/>
                    <a:lstStyle/>
                    <a:p>
                      <a:pPr algn="ctr" fontAlgn="b"/>
                      <a:endParaRPr lang="es-CL" sz="1400" b="1" u="none" strike="noStrike">
                        <a:solidFill>
                          <a:schemeClr val="bg1"/>
                        </a:solidFill>
                        <a:effectLst/>
                        <a:latin typeface="gobCL" pitchFamily="50" charset="0"/>
                      </a:endParaRPr>
                    </a:p>
                  </a:txBody>
                  <a:tcPr marL="8601" marR="8601" marT="8601" marB="0" anchor="ctr">
                    <a:lnL w="0">
                      <a:noFill/>
                    </a:lnL>
                    <a:lnR w="0">
                      <a:noFill/>
                    </a:lnR>
                    <a:lnT w="0">
                      <a:noFill/>
                    </a:lnT>
                    <a:lnB w="0">
                      <a:noFill/>
                    </a:lnB>
                    <a:solidFill>
                      <a:srgbClr val="004677"/>
                    </a:solidFill>
                  </a:tcPr>
                </a:tc>
                <a:tc hMerge="1">
                  <a:txBody>
                    <a:bodyPr/>
                    <a:lstStyle/>
                    <a:p>
                      <a:pPr algn="ctr" fontAlgn="b"/>
                      <a:endParaRPr lang="es-CL" sz="1400" b="1" u="none" strike="noStrike">
                        <a:solidFill>
                          <a:schemeClr val="bg1"/>
                        </a:solidFill>
                        <a:effectLst/>
                        <a:latin typeface="gobCL" pitchFamily="50" charset="0"/>
                      </a:endParaRPr>
                    </a:p>
                  </a:txBody>
                  <a:tcPr marL="8601" marR="8601" marT="8601" marB="0" anchor="ctr">
                    <a:lnL w="0">
                      <a:noFill/>
                    </a:lnL>
                    <a:lnR w="0">
                      <a:noFill/>
                    </a:lnR>
                    <a:lnT w="0">
                      <a:noFill/>
                    </a:lnT>
                    <a:lnB w="0">
                      <a:noFill/>
                    </a:lnB>
                    <a:solidFill>
                      <a:srgbClr val="004677"/>
                    </a:solidFill>
                  </a:tcPr>
                </a:tc>
                <a:tc hMerge="1">
                  <a:txBody>
                    <a:bodyPr/>
                    <a:lstStyle/>
                    <a:p>
                      <a:endParaRPr lang="es-ES"/>
                    </a:p>
                  </a:txBody>
                  <a:tcPr/>
                </a:tc>
                <a:tc hMerge="1">
                  <a:txBody>
                    <a:bodyPr/>
                    <a:lstStyle/>
                    <a:p>
                      <a:pPr algn="ctr" fontAlgn="b"/>
                      <a:endParaRPr lang="es-CL" sz="1400" b="1" u="none" strike="noStrike">
                        <a:solidFill>
                          <a:schemeClr val="bg1"/>
                        </a:solidFill>
                        <a:effectLst/>
                        <a:latin typeface="gobCL" pitchFamily="50" charset="0"/>
                      </a:endParaRPr>
                    </a:p>
                  </a:txBody>
                  <a:tcPr marL="8601" marR="8601" marT="8601" marB="0" anchor="ctr">
                    <a:lnL w="0">
                      <a:noFill/>
                    </a:lnL>
                    <a:lnR w="0">
                      <a:noFill/>
                    </a:lnR>
                    <a:lnT w="0">
                      <a:noFill/>
                    </a:lnT>
                    <a:lnB w="0">
                      <a:noFill/>
                    </a:lnB>
                    <a:solidFill>
                      <a:srgbClr val="004677"/>
                    </a:solidFill>
                  </a:tcPr>
                </a:tc>
                <a:tc hMerge="1">
                  <a:txBody>
                    <a:bodyPr/>
                    <a:lstStyle/>
                    <a:p>
                      <a:pPr algn="ctr" fontAlgn="b"/>
                      <a:endParaRPr lang="es-CL" sz="1400" b="1" u="none" strike="noStrike">
                        <a:solidFill>
                          <a:schemeClr val="bg1"/>
                        </a:solidFill>
                        <a:effectLst/>
                        <a:latin typeface="gobCL" pitchFamily="50" charset="0"/>
                      </a:endParaRPr>
                    </a:p>
                  </a:txBody>
                  <a:tcPr marL="8601" marR="8601" marT="8601" marB="0" anchor="ctr">
                    <a:lnL w="0">
                      <a:noFill/>
                    </a:lnL>
                    <a:lnR w="0">
                      <a:noFill/>
                    </a:lnR>
                    <a:lnT w="0">
                      <a:noFill/>
                    </a:lnT>
                    <a:lnB w="0">
                      <a:noFill/>
                    </a:lnB>
                    <a:solidFill>
                      <a:srgbClr val="004677"/>
                    </a:solidFill>
                  </a:tcPr>
                </a:tc>
                <a:extLst>
                  <a:ext uri="{0D108BD9-81ED-4DB2-BD59-A6C34878D82A}">
                    <a16:rowId xmlns:a16="http://schemas.microsoft.com/office/drawing/2014/main" val="236819239"/>
                  </a:ext>
                </a:extLst>
              </a:tr>
              <a:tr h="277776">
                <a:tc>
                  <a:txBody>
                    <a:bodyPr/>
                    <a:lstStyle/>
                    <a:p>
                      <a:pPr algn="ctr" fontAlgn="b"/>
                      <a:r>
                        <a:rPr lang="es-CL" sz="1200" b="1" u="none" strike="noStrike">
                          <a:solidFill>
                            <a:schemeClr val="bg1"/>
                          </a:solidFill>
                          <a:effectLst/>
                          <a:latin typeface="gobCL"/>
                        </a:rPr>
                        <a:t>PROMOCIÓN Y PREVENCIÓN</a:t>
                      </a:r>
                    </a:p>
                  </a:txBody>
                  <a:tcPr marL="8601" marR="8601" marT="8601" marB="0" anchor="ctr">
                    <a:lnL w="0">
                      <a:noFill/>
                    </a:lnL>
                    <a:lnR w="0">
                      <a:noFill/>
                    </a:lnR>
                    <a:lnT w="0">
                      <a:noFill/>
                    </a:lnT>
                    <a:lnB w="0">
                      <a:noFill/>
                    </a:lnB>
                    <a:solidFill>
                      <a:srgbClr val="004677"/>
                    </a:solidFill>
                  </a:tcPr>
                </a:tc>
                <a:tc>
                  <a:txBody>
                    <a:bodyPr/>
                    <a:lstStyle/>
                    <a:p>
                      <a:pPr algn="ctr" fontAlgn="b"/>
                      <a:endParaRPr lang="es-CL" sz="1200" b="1" u="none" strike="noStrike">
                        <a:solidFill>
                          <a:schemeClr val="bg1"/>
                        </a:solidFill>
                        <a:effectLst/>
                        <a:latin typeface="gobCL" pitchFamily="50" charset="0"/>
                      </a:endParaRPr>
                    </a:p>
                  </a:txBody>
                  <a:tcPr marL="8601" marR="8601" marT="8601" marB="0" anchor="ctr">
                    <a:lnL w="0">
                      <a:noFill/>
                    </a:lnL>
                    <a:lnR w="0">
                      <a:noFill/>
                    </a:lnR>
                    <a:lnT w="0">
                      <a:noFill/>
                    </a:lnT>
                    <a:lnB w="0">
                      <a:noFill/>
                    </a:lnB>
                    <a:solidFill>
                      <a:srgbClr val="004677"/>
                    </a:solidFill>
                  </a:tcPr>
                </a:tc>
                <a:tc gridSpan="2">
                  <a:txBody>
                    <a:bodyPr/>
                    <a:lstStyle/>
                    <a:p>
                      <a:pPr algn="ctr" fontAlgn="b"/>
                      <a:r>
                        <a:rPr lang="es-CL" sz="1200" b="1" u="none" strike="noStrike">
                          <a:solidFill>
                            <a:schemeClr val="bg1"/>
                          </a:solidFill>
                          <a:effectLst/>
                          <a:latin typeface="gobCL"/>
                        </a:rPr>
                        <a:t>ASISTENCIA</a:t>
                      </a:r>
                    </a:p>
                  </a:txBody>
                  <a:tcPr marL="8601" marR="8601" marT="8601" marB="0" anchor="ctr">
                    <a:lnL w="0">
                      <a:noFill/>
                    </a:lnL>
                    <a:lnR w="0">
                      <a:noFill/>
                    </a:lnR>
                    <a:lnT w="0">
                      <a:noFill/>
                    </a:lnT>
                    <a:lnB w="0">
                      <a:noFill/>
                    </a:lnB>
                    <a:solidFill>
                      <a:srgbClr val="004677"/>
                    </a:solidFill>
                  </a:tcPr>
                </a:tc>
                <a:tc hMerge="1">
                  <a:txBody>
                    <a:bodyPr/>
                    <a:lstStyle/>
                    <a:p>
                      <a:endParaRPr lang="es-CL"/>
                    </a:p>
                  </a:txBody>
                  <a:tcPr marL="0" marR="0" marT="0" marB="0" horzOverflow="overflow"/>
                </a:tc>
                <a:tc>
                  <a:txBody>
                    <a:bodyPr/>
                    <a:lstStyle/>
                    <a:p>
                      <a:pPr algn="ctr" fontAlgn="b"/>
                      <a:r>
                        <a:rPr lang="es-CL" sz="1200" b="1" u="none" strike="noStrike">
                          <a:solidFill>
                            <a:schemeClr val="bg1"/>
                          </a:solidFill>
                          <a:effectLst/>
                          <a:latin typeface="gobCL"/>
                        </a:rPr>
                        <a:t>RECUPERACIÓN</a:t>
                      </a:r>
                    </a:p>
                  </a:txBody>
                  <a:tcPr marL="8601" marR="8601" marT="8601" marB="0" anchor="ctr">
                    <a:lnL w="0">
                      <a:noFill/>
                    </a:lnL>
                    <a:lnR w="0">
                      <a:noFill/>
                    </a:lnR>
                    <a:lnT w="0">
                      <a:noFill/>
                    </a:lnT>
                    <a:lnB w="0">
                      <a:noFill/>
                    </a:lnB>
                    <a:solidFill>
                      <a:srgbClr val="004677"/>
                    </a:solidFill>
                  </a:tcPr>
                </a:tc>
                <a:tc>
                  <a:txBody>
                    <a:bodyPr/>
                    <a:lstStyle/>
                    <a:p>
                      <a:pPr algn="ctr" fontAlgn="b"/>
                      <a:endParaRPr lang="es-CL" sz="1200" b="1" u="none" strike="noStrike">
                        <a:solidFill>
                          <a:schemeClr val="bg1"/>
                        </a:solidFill>
                        <a:effectLst/>
                        <a:latin typeface="gobCL" pitchFamily="50" charset="0"/>
                      </a:endParaRPr>
                    </a:p>
                  </a:txBody>
                  <a:tcPr marL="8601" marR="8601" marT="8601" marB="0" anchor="ctr">
                    <a:lnL w="0">
                      <a:noFill/>
                    </a:lnL>
                    <a:lnR w="0">
                      <a:noFill/>
                    </a:lnR>
                    <a:lnT w="0">
                      <a:noFill/>
                    </a:lnT>
                    <a:lnB w="0">
                      <a:noFill/>
                    </a:lnB>
                    <a:solidFill>
                      <a:srgbClr val="004677"/>
                    </a:solidFill>
                  </a:tcPr>
                </a:tc>
                <a:extLst>
                  <a:ext uri="{0D108BD9-81ED-4DB2-BD59-A6C34878D82A}">
                    <a16:rowId xmlns:a16="http://schemas.microsoft.com/office/drawing/2014/main" val="421966448"/>
                  </a:ext>
                </a:extLst>
              </a:tr>
              <a:tr h="613972">
                <a:tc>
                  <a:txBody>
                    <a:bodyPr/>
                    <a:lstStyle/>
                    <a:p>
                      <a:pPr algn="l" fontAlgn="t"/>
                      <a:r>
                        <a:rPr lang="es-ES" sz="1200" u="none" strike="noStrike" kern="1200">
                          <a:solidFill>
                            <a:srgbClr val="1A507C"/>
                          </a:solidFill>
                          <a:effectLst/>
                          <a:latin typeface="gobCL"/>
                          <a:ea typeface="+mn-ea"/>
                          <a:cs typeface="+mn-cs"/>
                        </a:rPr>
                        <a:t>C1: Nuevo Protocolo de Gestión de Riesgos Psicosociales en </a:t>
                      </a:r>
                    </a:p>
                    <a:p>
                      <a:pPr algn="l" fontAlgn="t"/>
                      <a:r>
                        <a:rPr lang="es-ES" sz="1200" u="none" strike="noStrike" kern="1200">
                          <a:solidFill>
                            <a:srgbClr val="1A507C"/>
                          </a:solidFill>
                          <a:effectLst/>
                          <a:latin typeface="gobCL"/>
                          <a:ea typeface="+mn-ea"/>
                          <a:cs typeface="+mn-cs"/>
                        </a:rPr>
                        <a:t>el Trabajo y nuevo cuestionario CEAL-SM</a:t>
                      </a:r>
                    </a:p>
                  </a:txBody>
                  <a:tcPr marL="6350" marR="6350" marT="6350" marB="0" anchor="ctr">
                    <a:lnL w="0">
                      <a:noFill/>
                    </a:lnL>
                    <a:lnR w="0">
                      <a:noFill/>
                    </a:lnR>
                    <a:lnT w="0">
                      <a:noFill/>
                    </a:lnT>
                    <a:lnB w="0">
                      <a:noFill/>
                    </a:lnB>
                    <a:noFill/>
                  </a:tcPr>
                </a:tc>
                <a:tc>
                  <a:txBody>
                    <a:bodyPr/>
                    <a:lstStyle/>
                    <a:p>
                      <a:pPr algn="l" fontAlgn="b"/>
                      <a:endParaRPr lang="es-CL" sz="12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tc>
                  <a:txBody>
                    <a:bodyPr/>
                    <a:lstStyle/>
                    <a:p>
                      <a:pPr algn="l" fontAlgn="t"/>
                      <a:r>
                        <a:rPr lang="es-ES" sz="1200" u="none" strike="noStrike" kern="1200">
                          <a:solidFill>
                            <a:srgbClr val="1A507C"/>
                          </a:solidFill>
                          <a:effectLst/>
                          <a:latin typeface="gobCL"/>
                          <a:ea typeface="+mn-ea"/>
                          <a:cs typeface="+mn-cs"/>
                        </a:rPr>
                        <a:t>Capacitación y difusión enfermedades del trabajo </a:t>
                      </a:r>
                      <a:endParaRPr lang="es-ES" sz="1200" u="none" strike="noStrike" kern="1200">
                        <a:solidFill>
                          <a:srgbClr val="1A507C"/>
                        </a:solidFill>
                        <a:effectLst/>
                        <a:latin typeface="gobCL" pitchFamily="2" charset="77"/>
                        <a:ea typeface="+mn-ea"/>
                        <a:cs typeface="+mn-cs"/>
                      </a:endParaRPr>
                    </a:p>
                  </a:txBody>
                  <a:tcPr marL="6350" marR="6350" marT="6350" marB="0" anchor="ctr">
                    <a:lnL w="0">
                      <a:noFill/>
                    </a:lnL>
                    <a:lnR w="0">
                      <a:noFill/>
                    </a:lnR>
                    <a:lnT w="0">
                      <a:noFill/>
                    </a:lnT>
                    <a:lnB w="0">
                      <a:noFill/>
                    </a:lnB>
                    <a:noFill/>
                  </a:tcPr>
                </a:tc>
                <a:tc>
                  <a:txBody>
                    <a:bodyPr/>
                    <a:lstStyle/>
                    <a:p>
                      <a:pPr algn="l" fontAlgn="b"/>
                      <a:endParaRPr lang="es-CL" sz="12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tc>
                  <a:txBody>
                    <a:bodyPr/>
                    <a:lstStyle/>
                    <a:p>
                      <a:pPr algn="l" fontAlgn="t"/>
                      <a:r>
                        <a:rPr lang="es-ES" sz="1200" u="none" strike="noStrike" kern="1200">
                          <a:solidFill>
                            <a:srgbClr val="1A507C"/>
                          </a:solidFill>
                          <a:effectLst/>
                          <a:latin typeface="gobCL"/>
                          <a:ea typeface="+mn-ea"/>
                          <a:cs typeface="+mn-cs"/>
                        </a:rPr>
                        <a:t>Orientaciones y capacitación para medidas de reintegro al trabajo al sector salud, en base a Guía ISP.</a:t>
                      </a:r>
                    </a:p>
                  </a:txBody>
                  <a:tcPr marL="6350" marR="6350" marT="6350" marB="0" anchor="ctr">
                    <a:lnL w="0">
                      <a:noFill/>
                    </a:lnL>
                    <a:lnR w="0">
                      <a:noFill/>
                    </a:lnR>
                    <a:lnT w="0">
                      <a:noFill/>
                    </a:lnT>
                    <a:lnB w="0">
                      <a:noFill/>
                    </a:lnB>
                    <a:noFill/>
                  </a:tcPr>
                </a:tc>
                <a:tc>
                  <a:txBody>
                    <a:bodyPr/>
                    <a:lstStyle/>
                    <a:p>
                      <a:pPr algn="l" fontAlgn="b"/>
                      <a:endParaRPr lang="es-CL" sz="12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579461283"/>
                  </a:ext>
                </a:extLst>
              </a:tr>
              <a:tr h="495300">
                <a:tc>
                  <a:txBody>
                    <a:bodyPr/>
                    <a:lstStyle/>
                    <a:p>
                      <a:pPr algn="l" fontAlgn="t"/>
                      <a:r>
                        <a:rPr lang="es-ES" sz="1200" u="none" strike="noStrike" kern="1200">
                          <a:solidFill>
                            <a:srgbClr val="1A507C"/>
                          </a:solidFill>
                          <a:effectLst/>
                          <a:latin typeface="gobCL"/>
                          <a:ea typeface="+mn-ea"/>
                          <a:cs typeface="+mn-cs"/>
                        </a:rPr>
                        <a:t>C2: Incorporación al PMG la correcta aplicación</a:t>
                      </a:r>
                      <a:r>
                        <a:rPr lang="en-US" sz="1200" u="none" strike="noStrike" kern="1200">
                          <a:solidFill>
                            <a:schemeClr val="dk1"/>
                          </a:solidFill>
                          <a:effectLst/>
                          <a:latin typeface="+mn-lt"/>
                          <a:ea typeface="+mn-ea"/>
                          <a:cs typeface="+mn-cs"/>
                        </a:rPr>
                        <a:t> </a:t>
                      </a:r>
                      <a:r>
                        <a:rPr lang="es-ES" sz="1200" u="none" strike="noStrike" kern="1200">
                          <a:solidFill>
                            <a:srgbClr val="1A507C"/>
                          </a:solidFill>
                          <a:effectLst/>
                          <a:latin typeface="gobCL"/>
                          <a:ea typeface="+mn-ea"/>
                          <a:cs typeface="+mn-cs"/>
                        </a:rPr>
                        <a:t>de la metodología </a:t>
                      </a:r>
                    </a:p>
                    <a:p>
                      <a:pPr algn="l" fontAlgn="t"/>
                      <a:r>
                        <a:rPr lang="es-ES" sz="1200" u="none" strike="noStrike" kern="1200">
                          <a:solidFill>
                            <a:srgbClr val="1A507C"/>
                          </a:solidFill>
                          <a:effectLst/>
                          <a:latin typeface="gobCL"/>
                          <a:ea typeface="+mn-ea"/>
                          <a:cs typeface="+mn-cs"/>
                        </a:rPr>
                        <a:t>del nuevo cuestionario de evaluación de riesgos (CEAL-SM).</a:t>
                      </a:r>
                    </a:p>
                  </a:txBody>
                  <a:tcPr marL="6350" marR="6350" marT="6350" marB="0" anchor="ctr">
                    <a:lnL w="0">
                      <a:noFill/>
                    </a:lnL>
                    <a:lnR w="0">
                      <a:noFill/>
                    </a:lnR>
                    <a:lnT w="0">
                      <a:noFill/>
                    </a:lnT>
                    <a:lnB w="0">
                      <a:noFill/>
                    </a:lnB>
                    <a:noFill/>
                  </a:tcPr>
                </a:tc>
                <a:tc>
                  <a:txBody>
                    <a:bodyPr/>
                    <a:lstStyle/>
                    <a:p>
                      <a:pPr algn="l" fontAlgn="b"/>
                      <a:endParaRPr lang="es-CL" sz="1200" u="none" strike="noStrike" kern="1200">
                        <a:solidFill>
                          <a:srgbClr val="1A507C"/>
                        </a:solidFill>
                        <a:effectLst/>
                        <a:latin typeface="gobCL" pitchFamily="2" charset="77"/>
                        <a:ea typeface="+mn-ea"/>
                        <a:cs typeface="+mn-cs"/>
                      </a:endParaRPr>
                    </a:p>
                  </a:txBody>
                  <a:tcPr marL="8601" marR="8601" marT="8601" marB="0" anchor="ctr">
                    <a:lnL w="0">
                      <a:noFill/>
                    </a:lnL>
                    <a:lnR w="0">
                      <a:noFill/>
                    </a:lnR>
                    <a:lnT w="0">
                      <a:noFill/>
                    </a:lnT>
                    <a:lnB w="0">
                      <a:noFill/>
                    </a:lnB>
                    <a:noFill/>
                  </a:tcPr>
                </a:tc>
                <a:tc>
                  <a:txBody>
                    <a:bodyPr/>
                    <a:lstStyle/>
                    <a:p>
                      <a:pPr algn="l" fontAlgn="t"/>
                      <a:r>
                        <a:rPr lang="es-ES" sz="1200" u="none" strike="noStrike" kern="1200">
                          <a:solidFill>
                            <a:srgbClr val="1A507C"/>
                          </a:solidFill>
                          <a:effectLst/>
                          <a:latin typeface="gobCL"/>
                          <a:ea typeface="+mn-ea"/>
                          <a:cs typeface="+mn-cs"/>
                        </a:rPr>
                        <a:t>Fiscalizar la correcta calificación de Enfermedades Profesionales. </a:t>
                      </a:r>
                      <a:endParaRPr lang="es-ES" sz="1200" u="none" strike="noStrike" kern="1200">
                        <a:solidFill>
                          <a:srgbClr val="1A507C"/>
                        </a:solidFill>
                        <a:effectLst/>
                        <a:latin typeface="gobCL" pitchFamily="2" charset="77"/>
                        <a:ea typeface="+mn-ea"/>
                        <a:cs typeface="+mn-cs"/>
                      </a:endParaRPr>
                    </a:p>
                  </a:txBody>
                  <a:tcPr marL="6350" marR="6350" marT="6350" marB="0" anchor="ctr">
                    <a:lnL w="0">
                      <a:noFill/>
                    </a:lnL>
                    <a:lnR w="0">
                      <a:noFill/>
                    </a:lnR>
                    <a:lnT w="0">
                      <a:noFill/>
                    </a:lnT>
                    <a:lnB w="0">
                      <a:noFill/>
                    </a:lnB>
                    <a:noFill/>
                  </a:tcPr>
                </a:tc>
                <a:tc>
                  <a:txBody>
                    <a:bodyPr/>
                    <a:lstStyle/>
                    <a:p>
                      <a:pPr algn="l" fontAlgn="b"/>
                      <a:endParaRPr lang="es-CL" sz="12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tc>
                  <a:txBody>
                    <a:bodyPr/>
                    <a:lstStyle/>
                    <a:p>
                      <a:pPr algn="l" fontAlgn="t"/>
                      <a:r>
                        <a:rPr lang="es-ES" sz="1200" u="none" strike="noStrike" kern="1200">
                          <a:solidFill>
                            <a:srgbClr val="1A507C"/>
                          </a:solidFill>
                          <a:effectLst/>
                          <a:latin typeface="gobCL"/>
                          <a:ea typeface="+mn-ea"/>
                          <a:cs typeface="+mn-cs"/>
                        </a:rPr>
                        <a:t>Proyectar acciones para fortalecer dispositivos y sistemas de gobernanza de Salud Mental</a:t>
                      </a:r>
                    </a:p>
                  </a:txBody>
                  <a:tcPr marL="6350" marR="6350" marT="6350" marB="0" anchor="ctr">
                    <a:lnL w="0">
                      <a:noFill/>
                    </a:lnL>
                    <a:lnR w="0">
                      <a:noFill/>
                    </a:lnR>
                    <a:lnT w="0">
                      <a:noFill/>
                    </a:lnT>
                    <a:lnB w="0">
                      <a:noFill/>
                    </a:lnB>
                    <a:noFill/>
                  </a:tcPr>
                </a:tc>
                <a:tc>
                  <a:txBody>
                    <a:bodyPr/>
                    <a:lstStyle/>
                    <a:p>
                      <a:pPr algn="l" fontAlgn="b"/>
                      <a:endParaRPr lang="es-CL" sz="12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53251977"/>
                  </a:ext>
                </a:extLst>
              </a:tr>
              <a:tr h="685800">
                <a:tc>
                  <a:txBody>
                    <a:bodyPr/>
                    <a:lstStyle/>
                    <a:p>
                      <a:pPr algn="l" fontAlgn="t"/>
                      <a:r>
                        <a:rPr lang="es-ES" sz="1200" u="none" strike="noStrike" kern="1200">
                          <a:solidFill>
                            <a:srgbClr val="1A507C"/>
                          </a:solidFill>
                          <a:effectLst/>
                          <a:latin typeface="gobCL"/>
                          <a:ea typeface="+mn-ea"/>
                          <a:cs typeface="+mn-cs"/>
                        </a:rPr>
                        <a:t>C3:Incorporar elaboración y/o actualización de</a:t>
                      </a:r>
                      <a:endParaRPr lang="es-ES" sz="1200" u="none" strike="noStrike" kern="1200">
                        <a:solidFill>
                          <a:srgbClr val="1A507C"/>
                        </a:solidFill>
                        <a:effectLst/>
                        <a:latin typeface="gobCL" pitchFamily="2" charset="77"/>
                        <a:ea typeface="+mn-ea"/>
                        <a:cs typeface="+mn-cs"/>
                      </a:endParaRPr>
                    </a:p>
                    <a:p>
                      <a:pPr lvl="0" algn="l">
                        <a:buNone/>
                      </a:pPr>
                      <a:r>
                        <a:rPr lang="es-ES" sz="1200" u="none" strike="noStrike" kern="1200">
                          <a:solidFill>
                            <a:srgbClr val="1A507C"/>
                          </a:solidFill>
                          <a:effectLst/>
                          <a:latin typeface="gobCL"/>
                          <a:ea typeface="+mn-ea"/>
                          <a:cs typeface="+mn-cs"/>
                        </a:rPr>
                        <a:t> políticas y procedimientos de protección a la salud mental funcionaria a indicadores ADP de directores de servicios de salud </a:t>
                      </a:r>
                    </a:p>
                  </a:txBody>
                  <a:tcPr marL="6350" marR="6350" marT="6350" marB="0" anchor="ctr">
                    <a:lnL w="0">
                      <a:noFill/>
                    </a:lnL>
                    <a:lnR w="0">
                      <a:noFill/>
                    </a:lnR>
                    <a:lnT w="0">
                      <a:noFill/>
                    </a:lnT>
                    <a:lnB w="0">
                      <a:noFill/>
                    </a:lnB>
                    <a:noFill/>
                  </a:tcPr>
                </a:tc>
                <a:tc>
                  <a:txBody>
                    <a:bodyPr/>
                    <a:lstStyle/>
                    <a:p>
                      <a:pPr algn="l" fontAlgn="b"/>
                      <a:endParaRPr lang="es-CL" sz="12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tc>
                  <a:txBody>
                    <a:bodyPr/>
                    <a:lstStyle/>
                    <a:p>
                      <a:pPr algn="l" fontAlgn="t"/>
                      <a:r>
                        <a:rPr lang="es-ES" sz="1200" u="none" strike="noStrike" kern="1200">
                          <a:solidFill>
                            <a:srgbClr val="1A507C"/>
                          </a:solidFill>
                          <a:effectLst/>
                          <a:latin typeface="gobCL"/>
                          <a:ea typeface="+mn-ea"/>
                          <a:cs typeface="+mn-cs"/>
                        </a:rPr>
                        <a:t>Fiscalizar la correcta entrega de prestaciones médicas de salud mental de Mutualidades/ISL</a:t>
                      </a:r>
                    </a:p>
                  </a:txBody>
                  <a:tcPr marL="6350" marR="6350" marT="6350" marB="0" anchor="ctr">
                    <a:lnL w="0">
                      <a:noFill/>
                    </a:lnL>
                    <a:lnR w="0">
                      <a:noFill/>
                    </a:lnR>
                    <a:lnT w="0">
                      <a:noFill/>
                    </a:lnT>
                    <a:lnB w="0">
                      <a:noFill/>
                    </a:lnB>
                    <a:noFill/>
                  </a:tcPr>
                </a:tc>
                <a:tc>
                  <a:txBody>
                    <a:bodyPr/>
                    <a:lstStyle/>
                    <a:p>
                      <a:pPr algn="l" fontAlgn="b"/>
                      <a:endParaRPr lang="es-CL" sz="12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tc>
                  <a:txBody>
                    <a:bodyPr/>
                    <a:lstStyle/>
                    <a:p>
                      <a:pPr algn="l" fontAlgn="b"/>
                      <a:endParaRPr lang="es-CL" sz="12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tc>
                  <a:txBody>
                    <a:bodyPr/>
                    <a:lstStyle/>
                    <a:p>
                      <a:pPr algn="l" fontAlgn="b"/>
                      <a:endParaRPr lang="es-CL" sz="12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2393037315"/>
                  </a:ext>
                </a:extLst>
              </a:tr>
              <a:tr h="0">
                <a:tc>
                  <a:txBody>
                    <a:bodyPr/>
                    <a:lstStyle/>
                    <a:p>
                      <a:pPr algn="l" fontAlgn="t"/>
                      <a:r>
                        <a:rPr lang="es-ES" sz="1200" u="none" strike="noStrike" kern="1200">
                          <a:solidFill>
                            <a:srgbClr val="1A507C"/>
                          </a:solidFill>
                          <a:effectLst/>
                          <a:latin typeface="gobCL"/>
                          <a:ea typeface="+mn-ea"/>
                          <a:cs typeface="+mn-cs"/>
                        </a:rPr>
                        <a:t>C4:Difusión y capacitación de nueva metodología CEAL-SM</a:t>
                      </a:r>
                    </a:p>
                  </a:txBody>
                  <a:tcPr marL="6350" marR="6350" marT="6350" marB="0" anchor="ctr">
                    <a:lnL w="0">
                      <a:noFill/>
                    </a:lnL>
                    <a:lnR w="0">
                      <a:noFill/>
                    </a:lnR>
                    <a:lnT w="0">
                      <a:noFill/>
                    </a:lnT>
                    <a:lnB w="0">
                      <a:noFill/>
                    </a:lnB>
                    <a:noFill/>
                  </a:tcPr>
                </a:tc>
                <a:tc>
                  <a:txBody>
                    <a:bodyPr/>
                    <a:lstStyle/>
                    <a:p>
                      <a:pPr algn="l" fontAlgn="b"/>
                      <a:endParaRPr lang="es-CL" sz="12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tc rowSpan="2">
                  <a:txBody>
                    <a:bodyPr/>
                    <a:lstStyle/>
                    <a:p>
                      <a:pPr marL="0" marR="0" lvl="0" indent="0" algn="l" rtl="0" eaLnBrk="1" fontAlgn="b" latinLnBrk="0" hangingPunct="1">
                        <a:lnSpc>
                          <a:spcPct val="100000"/>
                        </a:lnSpc>
                        <a:spcBef>
                          <a:spcPts val="0"/>
                        </a:spcBef>
                        <a:spcAft>
                          <a:spcPts val="0"/>
                        </a:spcAft>
                        <a:buClrTx/>
                        <a:buSzTx/>
                        <a:buFontTx/>
                        <a:buNone/>
                      </a:pPr>
                      <a:r>
                        <a:rPr lang="es-ES" sz="1200" u="none" strike="noStrike" kern="1200">
                          <a:solidFill>
                            <a:srgbClr val="1A507C"/>
                          </a:solidFill>
                          <a:effectLst/>
                          <a:latin typeface="gobCL"/>
                          <a:ea typeface="+mn-ea"/>
                          <a:cs typeface="+mn-cs"/>
                        </a:rPr>
                        <a:t>Ampliación de cobertura y acceso de prestaciones de salud mental a través de Hospital digital y Saludablemente. </a:t>
                      </a:r>
                      <a:endParaRPr lang="es-ES" sz="1200" u="none" strike="noStrike" kern="1200">
                        <a:solidFill>
                          <a:srgbClr val="1A507C"/>
                        </a:solidFill>
                        <a:effectLst/>
                        <a:latin typeface="gobCL" pitchFamily="2" charset="77"/>
                        <a:ea typeface="+mn-ea"/>
                        <a:cs typeface="+mn-cs"/>
                      </a:endParaRPr>
                    </a:p>
                  </a:txBody>
                  <a:tcPr marL="8601" marR="8601" marT="8601" marB="0" anchor="ctr">
                    <a:lnL w="0">
                      <a:noFill/>
                    </a:lnL>
                    <a:lnR w="0">
                      <a:noFill/>
                    </a:lnR>
                    <a:lnT w="0">
                      <a:noFill/>
                    </a:lnT>
                    <a:lnB w="0">
                      <a:noFill/>
                    </a:lnB>
                    <a:noFill/>
                  </a:tcPr>
                </a:tc>
                <a:tc>
                  <a:txBody>
                    <a:bodyPr/>
                    <a:lstStyle/>
                    <a:p>
                      <a:pPr algn="l" fontAlgn="b"/>
                      <a:endParaRPr lang="es-CL" sz="12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tc>
                  <a:txBody>
                    <a:bodyPr/>
                    <a:lstStyle/>
                    <a:p>
                      <a:pPr algn="l" fontAlgn="b"/>
                      <a:endParaRPr lang="es-CL" sz="12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tc>
                  <a:txBody>
                    <a:bodyPr/>
                    <a:lstStyle/>
                    <a:p>
                      <a:pPr algn="l" fontAlgn="b"/>
                      <a:endParaRPr lang="es-CL" sz="12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300231672"/>
                  </a:ext>
                </a:extLst>
              </a:tr>
              <a:tr h="539370">
                <a:tc>
                  <a:txBody>
                    <a:bodyPr/>
                    <a:lstStyle/>
                    <a:p>
                      <a:pPr algn="l" fontAlgn="t"/>
                      <a:r>
                        <a:rPr lang="es-ES" sz="1200" u="none" strike="noStrike" kern="1200">
                          <a:solidFill>
                            <a:srgbClr val="1A507C"/>
                          </a:solidFill>
                          <a:effectLst/>
                          <a:latin typeface="gobCL"/>
                          <a:ea typeface="+mn-ea"/>
                          <a:cs typeface="+mn-cs"/>
                        </a:rPr>
                        <a:t>C5: Cápsulas de SUSESO o plan de difusión y </a:t>
                      </a:r>
                      <a:endParaRPr lang="en-US" sz="1200"/>
                    </a:p>
                    <a:p>
                      <a:pPr lvl="0" algn="l">
                        <a:buNone/>
                      </a:pPr>
                      <a:r>
                        <a:rPr lang="es-ES" sz="1200" u="none" strike="noStrike" kern="1200">
                          <a:solidFill>
                            <a:srgbClr val="1A507C"/>
                          </a:solidFill>
                          <a:effectLst/>
                          <a:latin typeface="gobCL"/>
                          <a:ea typeface="+mn-ea"/>
                          <a:cs typeface="+mn-cs"/>
                        </a:rPr>
                        <a:t>desde la plataforma CAMPUS SC sector descentralizado</a:t>
                      </a:r>
                    </a:p>
                  </a:txBody>
                  <a:tcPr marL="6350" marR="6350" marT="6350" marB="0" anchor="ctr">
                    <a:lnL w="0">
                      <a:noFill/>
                    </a:lnL>
                    <a:lnR w="0">
                      <a:noFill/>
                    </a:lnR>
                    <a:lnT w="0">
                      <a:noFill/>
                    </a:lnT>
                    <a:lnB w="0">
                      <a:noFill/>
                    </a:lnB>
                    <a:noFill/>
                  </a:tcPr>
                </a:tc>
                <a:tc>
                  <a:txBody>
                    <a:bodyPr/>
                    <a:lstStyle/>
                    <a:p>
                      <a:pPr algn="l" fontAlgn="b"/>
                      <a:endParaRPr lang="es-CL" sz="12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tc vMerge="1">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s-ES" sz="1400" u="none" strike="noStrike" kern="1200">
                          <a:solidFill>
                            <a:srgbClr val="1A507C"/>
                          </a:solidFill>
                          <a:effectLst/>
                          <a:latin typeface="gobCL" pitchFamily="2" charset="77"/>
                          <a:ea typeface="+mn-ea"/>
                          <a:cs typeface="+mn-cs"/>
                        </a:rPr>
                        <a:t>Ampliación de cobertura y acceso de prestaciones de salud mental a través de Hospital digital y Saludablemente. </a:t>
                      </a:r>
                    </a:p>
                    <a:p>
                      <a:pPr marL="0" marR="0" lvl="0" indent="0" algn="l" defTabSz="914400" rtl="0" eaLnBrk="1" fontAlgn="b" latinLnBrk="0" hangingPunct="1">
                        <a:lnSpc>
                          <a:spcPct val="100000"/>
                        </a:lnSpc>
                        <a:spcBef>
                          <a:spcPts val="0"/>
                        </a:spcBef>
                        <a:spcAft>
                          <a:spcPts val="0"/>
                        </a:spcAft>
                        <a:buClrTx/>
                        <a:buSzTx/>
                        <a:buFontTx/>
                        <a:buNone/>
                        <a:tabLst/>
                        <a:defRPr/>
                      </a:pPr>
                      <a:endParaRPr lang="es-ES" sz="1400" u="none" strike="noStrike" kern="1200">
                        <a:solidFill>
                          <a:srgbClr val="1A507C"/>
                        </a:solidFill>
                        <a:effectLst/>
                        <a:latin typeface="gobCL" pitchFamily="2" charset="77"/>
                        <a:ea typeface="+mn-ea"/>
                        <a:cs typeface="+mn-cs"/>
                      </a:endParaRPr>
                    </a:p>
                  </a:txBody>
                  <a:tcPr marL="8601" marR="8601" marT="8601" marB="0" anchor="ctr">
                    <a:lnL w="0">
                      <a:noFill/>
                    </a:lnL>
                    <a:lnR w="0">
                      <a:noFill/>
                    </a:lnR>
                    <a:lnT w="0">
                      <a:noFill/>
                    </a:lnT>
                    <a:lnB w="0">
                      <a:noFill/>
                    </a:lnB>
                    <a:noFill/>
                  </a:tcPr>
                </a:tc>
                <a:tc>
                  <a:txBody>
                    <a:bodyPr/>
                    <a:lstStyle/>
                    <a:p>
                      <a:pPr algn="l" fontAlgn="b"/>
                      <a:endParaRPr lang="es-CL" sz="12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tc>
                  <a:txBody>
                    <a:bodyPr/>
                    <a:lstStyle/>
                    <a:p>
                      <a:pPr algn="l" fontAlgn="b"/>
                      <a:endParaRPr lang="es-CL" sz="12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tc>
                  <a:txBody>
                    <a:bodyPr/>
                    <a:lstStyle/>
                    <a:p>
                      <a:pPr algn="l" fontAlgn="b"/>
                      <a:endParaRPr lang="es-CL" sz="12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902931934"/>
                  </a:ext>
                </a:extLst>
              </a:tr>
              <a:tr h="224878">
                <a:tc>
                  <a:txBody>
                    <a:bodyPr/>
                    <a:lstStyle/>
                    <a:p>
                      <a:pPr marL="0" algn="l" rtl="0" eaLnBrk="1" fontAlgn="t" latinLnBrk="0" hangingPunct="1"/>
                      <a:r>
                        <a:rPr lang="es-ES" sz="1200" u="none" strike="noStrike" kern="1200">
                          <a:solidFill>
                            <a:srgbClr val="1A507C"/>
                          </a:solidFill>
                          <a:effectLst/>
                          <a:latin typeface="gobCL"/>
                          <a:ea typeface="+mn-ea"/>
                          <a:cs typeface="+mn-cs"/>
                        </a:rPr>
                        <a:t>C6: Capacitación a Altos Directivos Públicos y </a:t>
                      </a:r>
                      <a:endParaRPr lang="en-US" sz="1200"/>
                    </a:p>
                    <a:p>
                      <a:pPr marL="0" lvl="0" algn="l">
                        <a:buNone/>
                      </a:pPr>
                      <a:r>
                        <a:rPr lang="es-ES" sz="1200" u="none" strike="noStrike" kern="1200">
                          <a:solidFill>
                            <a:srgbClr val="1A507C"/>
                          </a:solidFill>
                          <a:effectLst/>
                          <a:latin typeface="gobCL"/>
                          <a:ea typeface="+mn-ea"/>
                          <a:cs typeface="+mn-cs"/>
                        </a:rPr>
                        <a:t>equipos técnicos en gestión de riesgos psicosociales en el trabajo y  elaboración de planes de calidad de vida laboral.</a:t>
                      </a:r>
                    </a:p>
                  </a:txBody>
                  <a:tcPr marL="6350" marR="6350" marT="6350" marB="0" anchor="ctr">
                    <a:lnL w="0">
                      <a:noFill/>
                    </a:lnL>
                    <a:lnR w="0">
                      <a:noFill/>
                    </a:lnR>
                    <a:lnT w="0">
                      <a:noFill/>
                    </a:lnT>
                    <a:lnB w="0">
                      <a:noFill/>
                    </a:lnB>
                    <a:noFill/>
                  </a:tcPr>
                </a:tc>
                <a:tc>
                  <a:txBody>
                    <a:bodyPr/>
                    <a:lstStyle/>
                    <a:p>
                      <a:pPr algn="l" fontAlgn="b"/>
                      <a:endParaRPr lang="es-CL" sz="12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tc>
                  <a:txBody>
                    <a:bodyPr/>
                    <a:lstStyle/>
                    <a:p>
                      <a:pPr algn="l" fontAlgn="t"/>
                      <a:r>
                        <a:rPr lang="es-ES" sz="1200" u="none" strike="noStrike" kern="1200">
                          <a:solidFill>
                            <a:srgbClr val="1A507C"/>
                          </a:solidFill>
                          <a:effectLst/>
                          <a:latin typeface="gobCL"/>
                          <a:ea typeface="+mn-ea"/>
                          <a:cs typeface="+mn-cs"/>
                        </a:rPr>
                        <a:t>Implementación por parte de OA de Programa de Atención temprana en Salud Mental (atención psicológica de emergencia)</a:t>
                      </a:r>
                    </a:p>
                  </a:txBody>
                  <a:tcPr marL="6350" marR="6350" marT="6350" marB="0" anchor="ctr">
                    <a:lnL w="0">
                      <a:noFill/>
                    </a:lnL>
                    <a:lnR w="0">
                      <a:noFill/>
                    </a:lnR>
                    <a:lnT w="0">
                      <a:noFill/>
                    </a:lnT>
                    <a:lnB w="0">
                      <a:noFill/>
                    </a:lnB>
                    <a:noFill/>
                  </a:tcPr>
                </a:tc>
                <a:tc>
                  <a:txBody>
                    <a:bodyPr/>
                    <a:lstStyle/>
                    <a:p>
                      <a:pPr algn="l" fontAlgn="b"/>
                      <a:endParaRPr lang="es-CL" sz="12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tc>
                  <a:txBody>
                    <a:bodyPr/>
                    <a:lstStyle/>
                    <a:p>
                      <a:pPr algn="l" fontAlgn="b"/>
                      <a:endParaRPr lang="es-CL" sz="12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tc>
                  <a:txBody>
                    <a:bodyPr/>
                    <a:lstStyle/>
                    <a:p>
                      <a:pPr algn="l" fontAlgn="b"/>
                      <a:endParaRPr lang="es-CL" sz="12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1039978140"/>
                  </a:ext>
                </a:extLst>
              </a:tr>
              <a:tr h="499479">
                <a:tc>
                  <a:txBody>
                    <a:bodyPr/>
                    <a:lstStyle/>
                    <a:p>
                      <a:pPr marL="0" algn="l" rtl="0" eaLnBrk="1" fontAlgn="t" latinLnBrk="0" hangingPunct="1"/>
                      <a:r>
                        <a:rPr lang="es-ES" sz="1200" u="none" strike="noStrike" kern="1200">
                          <a:solidFill>
                            <a:srgbClr val="1A507C"/>
                          </a:solidFill>
                          <a:effectLst/>
                          <a:latin typeface="gobCL"/>
                          <a:ea typeface="+mn-ea"/>
                          <a:cs typeface="+mn-cs"/>
                        </a:rPr>
                        <a:t>C7: Promover y capacitar respecto de calidad de </a:t>
                      </a:r>
                      <a:endParaRPr lang="en-US" sz="1200"/>
                    </a:p>
                    <a:p>
                      <a:pPr marL="0" lvl="0" algn="l">
                        <a:buNone/>
                      </a:pPr>
                      <a:r>
                        <a:rPr lang="es-ES" sz="1200" u="none" strike="noStrike" kern="1200">
                          <a:solidFill>
                            <a:srgbClr val="1A507C"/>
                          </a:solidFill>
                          <a:effectLst/>
                          <a:latin typeface="gobCL"/>
                          <a:ea typeface="+mn-ea"/>
                          <a:cs typeface="+mn-cs"/>
                        </a:rPr>
                        <a:t>vida y ambientes laborales saludables en el trabajo.</a:t>
                      </a:r>
                    </a:p>
                  </a:txBody>
                  <a:tcPr marL="6350" marR="6350" marT="6350" marB="0" anchor="ctr">
                    <a:lnL w="0">
                      <a:noFill/>
                    </a:lnL>
                    <a:lnR w="0">
                      <a:noFill/>
                    </a:lnR>
                    <a:lnT w="0">
                      <a:noFill/>
                    </a:lnT>
                    <a:lnB w="0">
                      <a:noFill/>
                    </a:lnB>
                    <a:noFill/>
                  </a:tcPr>
                </a:tc>
                <a:tc>
                  <a:txBody>
                    <a:bodyPr/>
                    <a:lstStyle/>
                    <a:p>
                      <a:pPr algn="l" fontAlgn="b"/>
                      <a:endParaRPr lang="es-CL" sz="12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tc>
                  <a:txBody>
                    <a:bodyPr/>
                    <a:lstStyle/>
                    <a:p>
                      <a:pPr algn="l" fontAlgn="b"/>
                      <a:endParaRPr lang="es-CL" sz="12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tc>
                  <a:txBody>
                    <a:bodyPr/>
                    <a:lstStyle/>
                    <a:p>
                      <a:pPr algn="l" fontAlgn="b"/>
                      <a:endParaRPr lang="es-CL" sz="12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tc>
                  <a:txBody>
                    <a:bodyPr/>
                    <a:lstStyle/>
                    <a:p>
                      <a:pPr algn="l" fontAlgn="b"/>
                      <a:endParaRPr lang="es-CL" sz="12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tc>
                  <a:txBody>
                    <a:bodyPr/>
                    <a:lstStyle/>
                    <a:p>
                      <a:pPr algn="l" fontAlgn="b"/>
                      <a:endParaRPr lang="es-CL" sz="12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3014837204"/>
                  </a:ext>
                </a:extLst>
              </a:tr>
              <a:tr h="254874">
                <a:tc>
                  <a:txBody>
                    <a:bodyPr/>
                    <a:lstStyle/>
                    <a:p>
                      <a:pPr marL="0" algn="l" rtl="0" eaLnBrk="1" fontAlgn="t" latinLnBrk="0" hangingPunct="1"/>
                      <a:r>
                        <a:rPr lang="es-ES" sz="1200" u="none" strike="noStrike" kern="1200">
                          <a:solidFill>
                            <a:srgbClr val="1A507C"/>
                          </a:solidFill>
                          <a:effectLst/>
                          <a:latin typeface="gobCL"/>
                          <a:ea typeface="+mn-ea"/>
                          <a:cs typeface="+mn-cs"/>
                        </a:rPr>
                        <a:t>Orientar y capacitar respecto de acciones de buenas prácticas en la gestión de riesgos psicosociales en el trabajo en las instituciones. </a:t>
                      </a:r>
                      <a:endParaRPr lang="es-ES" sz="1200" u="none" strike="noStrike" kern="1200">
                        <a:solidFill>
                          <a:srgbClr val="1A507C"/>
                        </a:solidFill>
                        <a:effectLst/>
                        <a:latin typeface="gobCL" pitchFamily="2" charset="77"/>
                        <a:ea typeface="+mn-ea"/>
                        <a:cs typeface="+mn-cs"/>
                      </a:endParaRPr>
                    </a:p>
                  </a:txBody>
                  <a:tcPr marL="6350" marR="6350" marT="6350" marB="0" anchor="ctr">
                    <a:lnL w="0">
                      <a:noFill/>
                    </a:lnL>
                    <a:lnR w="0">
                      <a:noFill/>
                    </a:lnR>
                    <a:lnT w="0">
                      <a:noFill/>
                    </a:lnT>
                    <a:lnB w="0">
                      <a:noFill/>
                    </a:lnB>
                    <a:noFill/>
                  </a:tcPr>
                </a:tc>
                <a:tc>
                  <a:txBody>
                    <a:bodyPr/>
                    <a:lstStyle/>
                    <a:p>
                      <a:pPr algn="l" fontAlgn="b"/>
                      <a:endParaRPr lang="es-CL" sz="12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tc>
                  <a:txBody>
                    <a:bodyPr/>
                    <a:lstStyle/>
                    <a:p>
                      <a:pPr algn="l" fontAlgn="b"/>
                      <a:endParaRPr lang="es-CL" sz="12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tc>
                  <a:txBody>
                    <a:bodyPr/>
                    <a:lstStyle/>
                    <a:p>
                      <a:pPr algn="l" fontAlgn="b"/>
                      <a:endParaRPr lang="es-CL" sz="12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tc>
                  <a:txBody>
                    <a:bodyPr/>
                    <a:lstStyle/>
                    <a:p>
                      <a:pPr algn="l" fontAlgn="b"/>
                      <a:endParaRPr lang="es-CL" sz="12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tc>
                  <a:txBody>
                    <a:bodyPr/>
                    <a:lstStyle/>
                    <a:p>
                      <a:pPr algn="l" fontAlgn="b"/>
                      <a:endParaRPr lang="es-CL" sz="12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461071484"/>
                  </a:ext>
                </a:extLst>
              </a:tr>
              <a:tr h="379848">
                <a:tc>
                  <a:txBody>
                    <a:bodyPr/>
                    <a:lstStyle/>
                    <a:p>
                      <a:pPr marL="0" algn="l" rtl="0" eaLnBrk="1" fontAlgn="t" latinLnBrk="0" hangingPunct="1"/>
                      <a:r>
                        <a:rPr lang="es-ES" sz="1200" u="none" strike="noStrike" kern="1200">
                          <a:solidFill>
                            <a:srgbClr val="1A507C"/>
                          </a:solidFill>
                          <a:effectLst/>
                          <a:latin typeface="gobCL"/>
                          <a:ea typeface="+mn-ea"/>
                          <a:cs typeface="+mn-cs"/>
                        </a:rPr>
                        <a:t>Incorporar en  las normas de aplicación general del Servicio Civil materias de salud mental en los espacios de trabajo.</a:t>
                      </a:r>
                    </a:p>
                  </a:txBody>
                  <a:tcPr marL="6350" marR="6350" marT="6350" marB="0" anchor="ctr">
                    <a:lnL w="0">
                      <a:noFill/>
                    </a:lnL>
                    <a:lnR w="0">
                      <a:noFill/>
                    </a:lnR>
                    <a:lnT w="0">
                      <a:noFill/>
                    </a:lnT>
                    <a:lnB w="0">
                      <a:noFill/>
                    </a:lnB>
                    <a:noFill/>
                  </a:tcPr>
                </a:tc>
                <a:tc>
                  <a:txBody>
                    <a:bodyPr/>
                    <a:lstStyle/>
                    <a:p>
                      <a:pPr algn="l" fontAlgn="b"/>
                      <a:endParaRPr lang="es-CL" sz="12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tc>
                  <a:txBody>
                    <a:bodyPr/>
                    <a:lstStyle/>
                    <a:p>
                      <a:pPr algn="l" fontAlgn="b"/>
                      <a:endParaRPr lang="es-CL" sz="12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tc>
                  <a:txBody>
                    <a:bodyPr/>
                    <a:lstStyle/>
                    <a:p>
                      <a:pPr algn="l" fontAlgn="b"/>
                      <a:endParaRPr lang="es-CL" sz="12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tc>
                  <a:txBody>
                    <a:bodyPr/>
                    <a:lstStyle/>
                    <a:p>
                      <a:pPr algn="l" fontAlgn="b"/>
                      <a:endParaRPr lang="es-CL" sz="12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tc>
                  <a:txBody>
                    <a:bodyPr/>
                    <a:lstStyle/>
                    <a:p>
                      <a:pPr algn="l" fontAlgn="b"/>
                      <a:endParaRPr lang="es-CL" sz="12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4041170856"/>
                  </a:ext>
                </a:extLst>
              </a:tr>
            </a:tbl>
          </a:graphicData>
        </a:graphic>
      </p:graphicFrame>
      <p:pic>
        <p:nvPicPr>
          <p:cNvPr id="7" name="Gráfico 6" descr="Harvey Balls 100% con relleno sólido">
            <a:extLst>
              <a:ext uri="{FF2B5EF4-FFF2-40B4-BE49-F238E27FC236}">
                <a16:creationId xmlns:a16="http://schemas.microsoft.com/office/drawing/2014/main" id="{EE1F0CE9-9BD6-4A0E-B837-EAC3E6FBC86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621274" y="1908202"/>
            <a:ext cx="351110" cy="351110"/>
          </a:xfrm>
          <a:prstGeom prst="rect">
            <a:avLst/>
          </a:prstGeom>
        </p:spPr>
      </p:pic>
      <p:grpSp>
        <p:nvGrpSpPr>
          <p:cNvPr id="19" name="Grupo 18">
            <a:extLst>
              <a:ext uri="{FF2B5EF4-FFF2-40B4-BE49-F238E27FC236}">
                <a16:creationId xmlns:a16="http://schemas.microsoft.com/office/drawing/2014/main" id="{512FE3F2-F785-3921-C479-9CF46A9ACCFF}"/>
              </a:ext>
            </a:extLst>
          </p:cNvPr>
          <p:cNvGrpSpPr/>
          <p:nvPr/>
        </p:nvGrpSpPr>
        <p:grpSpPr>
          <a:xfrm>
            <a:off x="8486731" y="249597"/>
            <a:ext cx="1613258" cy="830802"/>
            <a:chOff x="9242105" y="249597"/>
            <a:chExt cx="1613258" cy="830802"/>
          </a:xfrm>
        </p:grpSpPr>
        <p:pic>
          <p:nvPicPr>
            <p:cNvPr id="20" name="Gráfico 19" descr="Harvey Balls 100% con relleno sólido">
              <a:extLst>
                <a:ext uri="{FF2B5EF4-FFF2-40B4-BE49-F238E27FC236}">
                  <a16:creationId xmlns:a16="http://schemas.microsoft.com/office/drawing/2014/main" id="{C0694162-2FF4-CD15-70BA-F1936E51FC0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242105" y="533241"/>
              <a:ext cx="250031" cy="250031"/>
            </a:xfrm>
            <a:prstGeom prst="rect">
              <a:avLst/>
            </a:prstGeom>
          </p:spPr>
        </p:pic>
        <p:sp>
          <p:nvSpPr>
            <p:cNvPr id="21" name="CuadroTexto 20">
              <a:extLst>
                <a:ext uri="{FF2B5EF4-FFF2-40B4-BE49-F238E27FC236}">
                  <a16:creationId xmlns:a16="http://schemas.microsoft.com/office/drawing/2014/main" id="{E11A4F48-EA07-DBDA-556D-A099E9CE236D}"/>
                </a:ext>
              </a:extLst>
            </p:cNvPr>
            <p:cNvSpPr txBox="1"/>
            <p:nvPr/>
          </p:nvSpPr>
          <p:spPr>
            <a:xfrm>
              <a:off x="9492136" y="251101"/>
              <a:ext cx="1363227" cy="276999"/>
            </a:xfrm>
            <a:prstGeom prst="rect">
              <a:avLst/>
            </a:prstGeom>
            <a:noFill/>
          </p:spPr>
          <p:txBody>
            <a:bodyPr wrap="square">
              <a:spAutoFit/>
            </a:bodyPr>
            <a:lstStyle/>
            <a:p>
              <a:r>
                <a:rPr lang="es-CL" sz="1200">
                  <a:solidFill>
                    <a:schemeClr val="bg2">
                      <a:lumMod val="25000"/>
                    </a:schemeClr>
                  </a:solidFill>
                  <a:latin typeface="gobCL"/>
                </a:rPr>
                <a:t>Completado</a:t>
              </a:r>
            </a:p>
          </p:txBody>
        </p:sp>
        <p:sp>
          <p:nvSpPr>
            <p:cNvPr id="22" name="CuadroTexto 21">
              <a:extLst>
                <a:ext uri="{FF2B5EF4-FFF2-40B4-BE49-F238E27FC236}">
                  <a16:creationId xmlns:a16="http://schemas.microsoft.com/office/drawing/2014/main" id="{EEE776FA-2D7D-6529-E65D-A964FA2544AD}"/>
                </a:ext>
              </a:extLst>
            </p:cNvPr>
            <p:cNvSpPr txBox="1"/>
            <p:nvPr/>
          </p:nvSpPr>
          <p:spPr>
            <a:xfrm>
              <a:off x="9492136" y="511862"/>
              <a:ext cx="1363227" cy="307777"/>
            </a:xfrm>
            <a:prstGeom prst="rect">
              <a:avLst/>
            </a:prstGeom>
            <a:noFill/>
          </p:spPr>
          <p:txBody>
            <a:bodyPr wrap="square">
              <a:spAutoFit/>
            </a:bodyPr>
            <a:lstStyle/>
            <a:p>
              <a:r>
                <a:rPr lang="es-CL" sz="1200">
                  <a:solidFill>
                    <a:schemeClr val="bg2">
                      <a:lumMod val="25000"/>
                    </a:schemeClr>
                  </a:solidFill>
                  <a:latin typeface="gobCL"/>
                </a:rPr>
                <a:t>En</a:t>
              </a:r>
              <a:r>
                <a:rPr lang="es-CL" sz="1400" b="0" i="0" u="none" strike="noStrike">
                  <a:solidFill>
                    <a:schemeClr val="bg2">
                      <a:lumMod val="25000"/>
                    </a:schemeClr>
                  </a:solidFill>
                  <a:effectLst/>
                  <a:latin typeface="gobCL"/>
                </a:rPr>
                <a:t> </a:t>
              </a:r>
              <a:r>
                <a:rPr lang="es-CL" sz="1200">
                  <a:solidFill>
                    <a:schemeClr val="bg2">
                      <a:lumMod val="25000"/>
                    </a:schemeClr>
                  </a:solidFill>
                  <a:latin typeface="gobCL"/>
                </a:rPr>
                <a:t>proceso</a:t>
              </a:r>
            </a:p>
          </p:txBody>
        </p:sp>
        <p:sp>
          <p:nvSpPr>
            <p:cNvPr id="23" name="CuadroTexto 22">
              <a:extLst>
                <a:ext uri="{FF2B5EF4-FFF2-40B4-BE49-F238E27FC236}">
                  <a16:creationId xmlns:a16="http://schemas.microsoft.com/office/drawing/2014/main" id="{9F84EF97-25ED-4B94-047F-F8864E1F7B81}"/>
                </a:ext>
              </a:extLst>
            </p:cNvPr>
            <p:cNvSpPr txBox="1"/>
            <p:nvPr/>
          </p:nvSpPr>
          <p:spPr>
            <a:xfrm>
              <a:off x="9492136" y="803400"/>
              <a:ext cx="1363227" cy="276999"/>
            </a:xfrm>
            <a:prstGeom prst="rect">
              <a:avLst/>
            </a:prstGeom>
            <a:noFill/>
          </p:spPr>
          <p:txBody>
            <a:bodyPr wrap="square">
              <a:spAutoFit/>
            </a:bodyPr>
            <a:lstStyle/>
            <a:p>
              <a:r>
                <a:rPr lang="es-CL" sz="1200">
                  <a:solidFill>
                    <a:schemeClr val="bg2">
                      <a:lumMod val="25000"/>
                    </a:schemeClr>
                  </a:solidFill>
                  <a:latin typeface="gobCL"/>
                </a:rPr>
                <a:t>Pendiente</a:t>
              </a:r>
            </a:p>
          </p:txBody>
        </p:sp>
        <p:pic>
          <p:nvPicPr>
            <p:cNvPr id="24" name="Gráfico 23" descr="Harvey Balls 100% con relleno sólido">
              <a:extLst>
                <a:ext uri="{FF2B5EF4-FFF2-40B4-BE49-F238E27FC236}">
                  <a16:creationId xmlns:a16="http://schemas.microsoft.com/office/drawing/2014/main" id="{9A476951-C11C-FFDC-F358-6138F9A47C3C}"/>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242105" y="816885"/>
              <a:ext cx="250031" cy="250031"/>
            </a:xfrm>
            <a:prstGeom prst="rect">
              <a:avLst/>
            </a:prstGeom>
          </p:spPr>
        </p:pic>
        <p:pic>
          <p:nvPicPr>
            <p:cNvPr id="25" name="Gráfico 24" descr="Harvey Balls 100% con relleno sólido">
              <a:extLst>
                <a:ext uri="{FF2B5EF4-FFF2-40B4-BE49-F238E27FC236}">
                  <a16:creationId xmlns:a16="http://schemas.microsoft.com/office/drawing/2014/main" id="{2016EEA6-A89B-1FA6-323D-3CDEABB363D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242105" y="249597"/>
              <a:ext cx="250031" cy="250031"/>
            </a:xfrm>
            <a:prstGeom prst="rect">
              <a:avLst/>
            </a:prstGeom>
          </p:spPr>
        </p:pic>
      </p:grpSp>
      <p:pic>
        <p:nvPicPr>
          <p:cNvPr id="26" name="Gráfico 25" descr="Harvey Balls 100% con relleno sólido">
            <a:extLst>
              <a:ext uri="{FF2B5EF4-FFF2-40B4-BE49-F238E27FC236}">
                <a16:creationId xmlns:a16="http://schemas.microsoft.com/office/drawing/2014/main" id="{E0A5C576-FD49-CB18-63D9-45C93AACFF7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97178" y="1904860"/>
            <a:ext cx="351110" cy="351110"/>
          </a:xfrm>
          <a:prstGeom prst="rect">
            <a:avLst/>
          </a:prstGeom>
        </p:spPr>
      </p:pic>
      <p:pic>
        <p:nvPicPr>
          <p:cNvPr id="27" name="Gráfico 26" descr="Harvey Balls 100% con relleno sólido">
            <a:extLst>
              <a:ext uri="{FF2B5EF4-FFF2-40B4-BE49-F238E27FC236}">
                <a16:creationId xmlns:a16="http://schemas.microsoft.com/office/drawing/2014/main" id="{6C268E0B-DCC0-DF50-1DB1-D7806FE1CFC4}"/>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897178" y="2535634"/>
            <a:ext cx="351110" cy="351110"/>
          </a:xfrm>
          <a:prstGeom prst="rect">
            <a:avLst/>
          </a:prstGeom>
        </p:spPr>
      </p:pic>
      <p:pic>
        <p:nvPicPr>
          <p:cNvPr id="28" name="Gráfico 27" descr="Harvey Balls 100% con relleno sólido">
            <a:extLst>
              <a:ext uri="{FF2B5EF4-FFF2-40B4-BE49-F238E27FC236}">
                <a16:creationId xmlns:a16="http://schemas.microsoft.com/office/drawing/2014/main" id="{828A58F4-3151-F364-004C-8380B0CE5C2F}"/>
              </a:ext>
            </a:extLst>
          </p:cNvPr>
          <p:cNvPicPr>
            <a:picLocks noChangeAspect="1"/>
          </p:cNvPicPr>
          <p:nvPr/>
        </p:nvPicPr>
        <p:blipFill>
          <a:blip r:embed="rId9">
            <a:extLst>
              <a:ext uri="{96DAC541-7B7A-43D3-8B79-37D633B846F1}">
                <asvg:svgBlip xmlns:asvg="http://schemas.microsoft.com/office/drawing/2016/SVG/main" r:embed="rId13"/>
              </a:ext>
            </a:extLst>
          </a:blip>
          <a:stretch>
            <a:fillRect/>
          </a:stretch>
        </p:blipFill>
        <p:spPr>
          <a:xfrm>
            <a:off x="4897178" y="4080111"/>
            <a:ext cx="351110" cy="351110"/>
          </a:xfrm>
          <a:prstGeom prst="rect">
            <a:avLst/>
          </a:prstGeom>
        </p:spPr>
      </p:pic>
      <p:pic>
        <p:nvPicPr>
          <p:cNvPr id="29" name="Gráfico 28" descr="Harvey Balls 100% con relleno sólido">
            <a:extLst>
              <a:ext uri="{FF2B5EF4-FFF2-40B4-BE49-F238E27FC236}">
                <a16:creationId xmlns:a16="http://schemas.microsoft.com/office/drawing/2014/main" id="{11FBF7D3-FD7E-5ACC-58F1-5E77F4E82E93}"/>
              </a:ext>
            </a:extLst>
          </p:cNvPr>
          <p:cNvPicPr>
            <a:picLocks noChangeAspect="1"/>
          </p:cNvPicPr>
          <p:nvPr/>
        </p:nvPicPr>
        <p:blipFill>
          <a:blip r:embed="rId9">
            <a:extLst>
              <a:ext uri="{96DAC541-7B7A-43D3-8B79-37D633B846F1}">
                <asvg:svgBlip xmlns:asvg="http://schemas.microsoft.com/office/drawing/2016/SVG/main" r:embed="rId13"/>
              </a:ext>
            </a:extLst>
          </a:blip>
          <a:stretch>
            <a:fillRect/>
          </a:stretch>
        </p:blipFill>
        <p:spPr>
          <a:xfrm>
            <a:off x="4897178" y="4531091"/>
            <a:ext cx="351110" cy="351110"/>
          </a:xfrm>
          <a:prstGeom prst="rect">
            <a:avLst/>
          </a:prstGeom>
        </p:spPr>
      </p:pic>
      <p:pic>
        <p:nvPicPr>
          <p:cNvPr id="31" name="Gráfico 30" descr="Harvey Balls 100% con relleno sólido">
            <a:extLst>
              <a:ext uri="{FF2B5EF4-FFF2-40B4-BE49-F238E27FC236}">
                <a16:creationId xmlns:a16="http://schemas.microsoft.com/office/drawing/2014/main" id="{D6D87562-786A-E383-96D5-9472A48857A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0635188" y="2968414"/>
            <a:ext cx="351110" cy="351110"/>
          </a:xfrm>
          <a:prstGeom prst="rect">
            <a:avLst/>
          </a:prstGeom>
        </p:spPr>
      </p:pic>
      <p:pic>
        <p:nvPicPr>
          <p:cNvPr id="32" name="Gráfico 31" descr="Harvey Balls 100% con relleno sólido">
            <a:extLst>
              <a:ext uri="{FF2B5EF4-FFF2-40B4-BE49-F238E27FC236}">
                <a16:creationId xmlns:a16="http://schemas.microsoft.com/office/drawing/2014/main" id="{CC189543-7F87-4A49-087C-F093AFD94D3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97178" y="5836932"/>
            <a:ext cx="351110" cy="351110"/>
          </a:xfrm>
          <a:prstGeom prst="rect">
            <a:avLst/>
          </a:prstGeom>
        </p:spPr>
      </p:pic>
      <p:pic>
        <p:nvPicPr>
          <p:cNvPr id="42" name="Gráfico 41" descr="Harvey Balls 100% con relleno sólido">
            <a:extLst>
              <a:ext uri="{FF2B5EF4-FFF2-40B4-BE49-F238E27FC236}">
                <a16:creationId xmlns:a16="http://schemas.microsoft.com/office/drawing/2014/main" id="{F9973B08-69C5-5BDB-F5B0-568D935A943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691125" y="1917019"/>
            <a:ext cx="363570" cy="363570"/>
          </a:xfrm>
          <a:prstGeom prst="rect">
            <a:avLst/>
          </a:prstGeom>
        </p:spPr>
      </p:pic>
      <p:pic>
        <p:nvPicPr>
          <p:cNvPr id="43" name="Gráfico 42" descr="Harvey Balls 100% con relleno sólido">
            <a:extLst>
              <a:ext uri="{FF2B5EF4-FFF2-40B4-BE49-F238E27FC236}">
                <a16:creationId xmlns:a16="http://schemas.microsoft.com/office/drawing/2014/main" id="{8D0DAB05-7A6A-027D-FB02-6AE4AFA728F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706732" y="2504393"/>
            <a:ext cx="363570" cy="363570"/>
          </a:xfrm>
          <a:prstGeom prst="rect">
            <a:avLst/>
          </a:prstGeom>
        </p:spPr>
      </p:pic>
      <p:pic>
        <p:nvPicPr>
          <p:cNvPr id="49" name="Gráfico 48" descr="Harvey Balls 100% con relleno sólido">
            <a:extLst>
              <a:ext uri="{FF2B5EF4-FFF2-40B4-BE49-F238E27FC236}">
                <a16:creationId xmlns:a16="http://schemas.microsoft.com/office/drawing/2014/main" id="{D7152900-810D-EF97-1F8F-7F6FFC42113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97178" y="3660084"/>
            <a:ext cx="363570" cy="363570"/>
          </a:xfrm>
          <a:prstGeom prst="rect">
            <a:avLst/>
          </a:prstGeom>
        </p:spPr>
      </p:pic>
      <p:pic>
        <p:nvPicPr>
          <p:cNvPr id="51" name="Gráfico 50" descr="Harvey Balls 100% con relleno sólido">
            <a:extLst>
              <a:ext uri="{FF2B5EF4-FFF2-40B4-BE49-F238E27FC236}">
                <a16:creationId xmlns:a16="http://schemas.microsoft.com/office/drawing/2014/main" id="{2A9971DB-7D80-9BF5-9BDE-8ED707E5B180}"/>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10636514" y="2544462"/>
            <a:ext cx="351110" cy="351110"/>
          </a:xfrm>
          <a:prstGeom prst="rect">
            <a:avLst/>
          </a:prstGeom>
        </p:spPr>
      </p:pic>
      <p:pic>
        <p:nvPicPr>
          <p:cNvPr id="4" name="Gráfico 26" descr="Harvey Balls 100% con relleno sólido">
            <a:extLst>
              <a:ext uri="{FF2B5EF4-FFF2-40B4-BE49-F238E27FC236}">
                <a16:creationId xmlns:a16="http://schemas.microsoft.com/office/drawing/2014/main" id="{26834264-3B3D-025C-F4CC-597CB69A94FE}"/>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897178" y="3119064"/>
            <a:ext cx="351110" cy="351110"/>
          </a:xfrm>
          <a:prstGeom prst="rect">
            <a:avLst/>
          </a:prstGeom>
        </p:spPr>
      </p:pic>
      <p:pic>
        <p:nvPicPr>
          <p:cNvPr id="8" name="Gráfico 7" descr="Harvey Balls 100% con relleno sólido">
            <a:extLst>
              <a:ext uri="{FF2B5EF4-FFF2-40B4-BE49-F238E27FC236}">
                <a16:creationId xmlns:a16="http://schemas.microsoft.com/office/drawing/2014/main" id="{A2E8BF18-D5C0-2B34-C7B4-9B12A9CB022C}"/>
              </a:ext>
            </a:extLst>
          </p:cNvPr>
          <p:cNvPicPr>
            <a:picLocks noChangeAspect="1"/>
          </p:cNvPicPr>
          <p:nvPr/>
        </p:nvPicPr>
        <p:blipFill>
          <a:blip r:embed="rId9">
            <a:extLst>
              <a:ext uri="{96DAC541-7B7A-43D3-8B79-37D633B846F1}">
                <asvg:svgBlip xmlns:asvg="http://schemas.microsoft.com/office/drawing/2016/SVG/main" r:embed="rId13"/>
              </a:ext>
            </a:extLst>
          </a:blip>
          <a:stretch>
            <a:fillRect/>
          </a:stretch>
        </p:blipFill>
        <p:spPr>
          <a:xfrm>
            <a:off x="4897178" y="5239479"/>
            <a:ext cx="351110" cy="351110"/>
          </a:xfrm>
          <a:prstGeom prst="rect">
            <a:avLst/>
          </a:prstGeom>
        </p:spPr>
      </p:pic>
    </p:spTree>
    <p:extLst>
      <p:ext uri="{BB962C8B-B14F-4D97-AF65-F5344CB8AC3E}">
        <p14:creationId xmlns:p14="http://schemas.microsoft.com/office/powerpoint/2010/main" val="94943205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66AE1B3-A580-482F-9F24-45B1B9245A2F}"/>
              </a:ext>
            </a:extLst>
          </p:cNvPr>
          <p:cNvSpPr>
            <a:spLocks noGrp="1"/>
          </p:cNvSpPr>
          <p:nvPr>
            <p:ph type="title"/>
          </p:nvPr>
        </p:nvSpPr>
        <p:spPr>
          <a:xfrm>
            <a:off x="565880" y="305928"/>
            <a:ext cx="7111459" cy="639586"/>
          </a:xfrm>
        </p:spPr>
        <p:txBody>
          <a:bodyPr>
            <a:normAutofit/>
          </a:bodyPr>
          <a:lstStyle/>
          <a:p>
            <a:r>
              <a:rPr lang="es-ES" sz="2800" b="1">
                <a:solidFill>
                  <a:srgbClr val="1A507C"/>
                </a:solidFill>
                <a:latin typeface="gobCL"/>
                <a:ea typeface="+mn-ea"/>
                <a:cs typeface="+mn-cs"/>
              </a:rPr>
              <a:t>Mesas Transversales</a:t>
            </a:r>
            <a:endParaRPr lang="es-CL" sz="2800" b="1">
              <a:solidFill>
                <a:srgbClr val="1A507C"/>
              </a:solidFill>
              <a:latin typeface="gobCL"/>
              <a:ea typeface="+mn-ea"/>
              <a:cs typeface="+mn-cs"/>
            </a:endParaRPr>
          </a:p>
        </p:txBody>
      </p:sp>
      <p:sp>
        <p:nvSpPr>
          <p:cNvPr id="5" name="Elipse 4">
            <a:extLst>
              <a:ext uri="{FF2B5EF4-FFF2-40B4-BE49-F238E27FC236}">
                <a16:creationId xmlns:a16="http://schemas.microsoft.com/office/drawing/2014/main" id="{C75B7C43-8DF4-4FF8-CDAA-78D79794023C}"/>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 name="Marcador de número de diapositiva 2">
            <a:extLst>
              <a:ext uri="{FF2B5EF4-FFF2-40B4-BE49-F238E27FC236}">
                <a16:creationId xmlns:a16="http://schemas.microsoft.com/office/drawing/2014/main" id="{EFE71632-71DE-2A54-64EA-E99EEEC99809}"/>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47</a:t>
            </a:fld>
            <a:endParaRPr lang="en-US" b="1">
              <a:solidFill>
                <a:schemeClr val="bg1"/>
              </a:solidFill>
              <a:latin typeface="Calibri"/>
              <a:ea typeface="ヒラギノ角ゴ Pro W3"/>
              <a:cs typeface="Calibri"/>
            </a:endParaRPr>
          </a:p>
        </p:txBody>
      </p:sp>
      <p:graphicFrame>
        <p:nvGraphicFramePr>
          <p:cNvPr id="3" name="Tabla 2">
            <a:extLst>
              <a:ext uri="{FF2B5EF4-FFF2-40B4-BE49-F238E27FC236}">
                <a16:creationId xmlns:a16="http://schemas.microsoft.com/office/drawing/2014/main" id="{9220FDDA-5187-89D4-426E-54589DFC76B5}"/>
              </a:ext>
            </a:extLst>
          </p:cNvPr>
          <p:cNvGraphicFramePr>
            <a:graphicFrameLocks noGrp="1"/>
          </p:cNvGraphicFramePr>
          <p:nvPr>
            <p:extLst>
              <p:ext uri="{D42A27DB-BD31-4B8C-83A1-F6EECF244321}">
                <p14:modId xmlns:p14="http://schemas.microsoft.com/office/powerpoint/2010/main" val="3015466278"/>
              </p:ext>
            </p:extLst>
          </p:nvPr>
        </p:nvGraphicFramePr>
        <p:xfrm>
          <a:off x="630223" y="1381721"/>
          <a:ext cx="10306364" cy="2751657"/>
        </p:xfrm>
        <a:graphic>
          <a:graphicData uri="http://schemas.openxmlformats.org/drawingml/2006/table">
            <a:tbl>
              <a:tblPr firstRow="1" bandRow="1">
                <a:tableStyleId>{B301B821-A1FF-4177-AEE7-76D212191A09}</a:tableStyleId>
              </a:tblPr>
              <a:tblGrid>
                <a:gridCol w="9611240">
                  <a:extLst>
                    <a:ext uri="{9D8B030D-6E8A-4147-A177-3AD203B41FA5}">
                      <a16:colId xmlns:a16="http://schemas.microsoft.com/office/drawing/2014/main" val="265563881"/>
                    </a:ext>
                  </a:extLst>
                </a:gridCol>
                <a:gridCol w="695124">
                  <a:extLst>
                    <a:ext uri="{9D8B030D-6E8A-4147-A177-3AD203B41FA5}">
                      <a16:colId xmlns:a16="http://schemas.microsoft.com/office/drawing/2014/main" val="701581697"/>
                    </a:ext>
                  </a:extLst>
                </a:gridCol>
              </a:tblGrid>
              <a:tr h="359173">
                <a:tc>
                  <a:txBody>
                    <a:bodyPr/>
                    <a:lstStyle/>
                    <a:p>
                      <a:pPr algn="ctr" fontAlgn="b"/>
                      <a:r>
                        <a:rPr lang="es-ES" sz="2000" u="none" strike="noStrike">
                          <a:effectLst/>
                          <a:latin typeface="gobCL"/>
                        </a:rPr>
                        <a:t>40 HORAS</a:t>
                      </a:r>
                      <a:endParaRPr lang="es-CL" sz="2000" u="none" strike="noStrike">
                        <a:effectLst/>
                        <a:latin typeface="gobCL"/>
                      </a:endParaRPr>
                    </a:p>
                  </a:txBody>
                  <a:tcPr marL="8601" marR="8601" marT="8601" marB="0" anchor="ctr">
                    <a:lnL w="0">
                      <a:noFill/>
                    </a:lnL>
                    <a:lnR w="0">
                      <a:noFill/>
                    </a:lnR>
                    <a:lnT w="0">
                      <a:noFill/>
                    </a:lnT>
                    <a:lnB w="0">
                      <a:noFill/>
                    </a:lnB>
                    <a:solidFill>
                      <a:srgbClr val="004677"/>
                    </a:solidFill>
                  </a:tcPr>
                </a:tc>
                <a:tc>
                  <a:txBody>
                    <a:bodyPr/>
                    <a:lstStyle/>
                    <a:p>
                      <a:pPr algn="ctr" fontAlgn="b"/>
                      <a:endParaRPr lang="es-CL" sz="1400" u="none" strike="noStrike">
                        <a:effectLst/>
                        <a:latin typeface="gobCL" pitchFamily="50" charset="0"/>
                      </a:endParaRPr>
                    </a:p>
                  </a:txBody>
                  <a:tcPr marL="8601" marR="8601" marT="8601" marB="0" anchor="ctr">
                    <a:lnL w="0">
                      <a:noFill/>
                    </a:lnL>
                    <a:lnR w="0">
                      <a:noFill/>
                    </a:lnR>
                    <a:lnT w="0">
                      <a:noFill/>
                    </a:lnT>
                    <a:lnB w="0">
                      <a:noFill/>
                    </a:lnB>
                    <a:solidFill>
                      <a:srgbClr val="004677"/>
                    </a:solidFill>
                  </a:tcPr>
                </a:tc>
                <a:extLst>
                  <a:ext uri="{0D108BD9-81ED-4DB2-BD59-A6C34878D82A}">
                    <a16:rowId xmlns:a16="http://schemas.microsoft.com/office/drawing/2014/main" val="421966448"/>
                  </a:ext>
                </a:extLst>
              </a:tr>
              <a:tr h="1780904">
                <a:tc>
                  <a:txBody>
                    <a:bodyPr/>
                    <a:lstStyle/>
                    <a:p>
                      <a:pPr algn="l" fontAlgn="b"/>
                      <a:r>
                        <a:rPr lang="es-ES" sz="1600" u="none" strike="noStrike" kern="1200">
                          <a:solidFill>
                            <a:srgbClr val="1A507C"/>
                          </a:solidFill>
                          <a:effectLst/>
                          <a:latin typeface="gobCL"/>
                        </a:rPr>
                        <a:t>C1: Instalar Mesa de Trabajo para el seguimiento de la evaluación que formule el Gobierno para la implementación de la ampliación de la normativa de jornada laboral de 40 horas a trabajadores sujetos a los Estatutos del Empleo Público, de tal manera de converger en los años de aplicabilidad de la reducción horaria del </a:t>
                      </a:r>
                      <a:r>
                        <a:rPr lang="es-ES" sz="1600" u="none" strike="noStrike" kern="1200">
                          <a:solidFill>
                            <a:srgbClr val="1A507C"/>
                          </a:solidFill>
                          <a:effectLst/>
                          <a:latin typeface="gobCL"/>
                          <a:ea typeface="+mn-ea"/>
                          <a:cs typeface="+mn-cs"/>
                        </a:rPr>
                        <a:t>Código</a:t>
                      </a:r>
                      <a:r>
                        <a:rPr lang="es-ES" sz="1600" u="none" strike="noStrike" kern="1200">
                          <a:solidFill>
                            <a:srgbClr val="1A507C"/>
                          </a:solidFill>
                          <a:effectLst/>
                          <a:latin typeface="gobCL"/>
                        </a:rPr>
                        <a:t> del Trabajo. Esta evaluación tendrá por objeto analizar los costos e implementación de esta futura legislación, y tomará en cuenta los distintos estatutos, sistemas de turnos, disponibilidad de personal, su impacto en los servicios públicos entregados por el Estado, entre otros. </a:t>
                      </a:r>
                    </a:p>
                  </a:txBody>
                  <a:tcPr marL="8601" marR="8601" marT="8601" marB="0" anchor="ctr">
                    <a:lnL w="0">
                      <a:noFill/>
                    </a:lnL>
                    <a:lnR w="0">
                      <a:noFill/>
                    </a:lnR>
                    <a:lnT w="0">
                      <a:noFill/>
                    </a:lnT>
                    <a:lnB w="0">
                      <a:noFill/>
                    </a:lnB>
                    <a:noFill/>
                  </a:tcPr>
                </a:tc>
                <a:tc>
                  <a:txBody>
                    <a:bodyPr/>
                    <a:lstStyle/>
                    <a:p>
                      <a:pPr algn="l" fontAlgn="b"/>
                      <a:endParaRPr lang="es-CL" sz="16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3642547395"/>
                  </a:ext>
                </a:extLst>
              </a:tr>
              <a:tr h="611580">
                <a:tc>
                  <a:txBody>
                    <a:bodyPr/>
                    <a:lstStyle/>
                    <a:p>
                      <a:pPr algn="l" fontAlgn="b"/>
                      <a:r>
                        <a:rPr lang="es-ES" sz="1600" u="none" strike="noStrike" kern="1200">
                          <a:solidFill>
                            <a:srgbClr val="1A507C"/>
                          </a:solidFill>
                          <a:effectLst/>
                          <a:latin typeface="gobCL"/>
                        </a:rPr>
                        <a:t>C2: En el marco de esta mesa se presentará para consideración de los gremios, el o los proyectos de ley que aborden el tema y se realizará el seguimiento legislativo de los mismos.</a:t>
                      </a:r>
                    </a:p>
                  </a:txBody>
                  <a:tcPr marL="8601" marR="8601" marT="8601" marB="0" anchor="ctr">
                    <a:lnL w="0">
                      <a:noFill/>
                    </a:lnL>
                    <a:lnR w="0">
                      <a:noFill/>
                    </a:lnR>
                    <a:lnT w="0">
                      <a:noFill/>
                    </a:lnT>
                    <a:lnB w="0">
                      <a:noFill/>
                    </a:lnB>
                    <a:noFill/>
                  </a:tcPr>
                </a:tc>
                <a:tc>
                  <a:txBody>
                    <a:bodyPr/>
                    <a:lstStyle/>
                    <a:p>
                      <a:pPr algn="l" fontAlgn="b"/>
                      <a:endParaRPr lang="es-CL" sz="16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579461283"/>
                  </a:ext>
                </a:extLst>
              </a:tr>
            </a:tbl>
          </a:graphicData>
        </a:graphic>
      </p:graphicFrame>
      <p:grpSp>
        <p:nvGrpSpPr>
          <p:cNvPr id="19" name="Grupo 18">
            <a:extLst>
              <a:ext uri="{FF2B5EF4-FFF2-40B4-BE49-F238E27FC236}">
                <a16:creationId xmlns:a16="http://schemas.microsoft.com/office/drawing/2014/main" id="{512FE3F2-F785-3921-C479-9CF46A9ACCFF}"/>
              </a:ext>
            </a:extLst>
          </p:cNvPr>
          <p:cNvGrpSpPr/>
          <p:nvPr/>
        </p:nvGrpSpPr>
        <p:grpSpPr>
          <a:xfrm>
            <a:off x="8486731" y="249597"/>
            <a:ext cx="1613258" cy="830802"/>
            <a:chOff x="9242105" y="249597"/>
            <a:chExt cx="1613258" cy="830802"/>
          </a:xfrm>
        </p:grpSpPr>
        <p:pic>
          <p:nvPicPr>
            <p:cNvPr id="20" name="Gráfico 19" descr="Harvey Balls 100% con relleno sólido">
              <a:extLst>
                <a:ext uri="{FF2B5EF4-FFF2-40B4-BE49-F238E27FC236}">
                  <a16:creationId xmlns:a16="http://schemas.microsoft.com/office/drawing/2014/main" id="{C0694162-2FF4-CD15-70BA-F1936E51FC0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42105" y="533241"/>
              <a:ext cx="250031" cy="250031"/>
            </a:xfrm>
            <a:prstGeom prst="rect">
              <a:avLst/>
            </a:prstGeom>
          </p:spPr>
        </p:pic>
        <p:sp>
          <p:nvSpPr>
            <p:cNvPr id="21" name="CuadroTexto 20">
              <a:extLst>
                <a:ext uri="{FF2B5EF4-FFF2-40B4-BE49-F238E27FC236}">
                  <a16:creationId xmlns:a16="http://schemas.microsoft.com/office/drawing/2014/main" id="{E11A4F48-EA07-DBDA-556D-A099E9CE236D}"/>
                </a:ext>
              </a:extLst>
            </p:cNvPr>
            <p:cNvSpPr txBox="1"/>
            <p:nvPr/>
          </p:nvSpPr>
          <p:spPr>
            <a:xfrm>
              <a:off x="9492136" y="251101"/>
              <a:ext cx="1363227" cy="276999"/>
            </a:xfrm>
            <a:prstGeom prst="rect">
              <a:avLst/>
            </a:prstGeom>
            <a:noFill/>
          </p:spPr>
          <p:txBody>
            <a:bodyPr wrap="square">
              <a:spAutoFit/>
            </a:bodyPr>
            <a:lstStyle/>
            <a:p>
              <a:r>
                <a:rPr lang="es-CL" sz="1200">
                  <a:solidFill>
                    <a:schemeClr val="bg2">
                      <a:lumMod val="25000"/>
                    </a:schemeClr>
                  </a:solidFill>
                  <a:latin typeface="gobCL"/>
                </a:rPr>
                <a:t>Completado</a:t>
              </a:r>
            </a:p>
          </p:txBody>
        </p:sp>
        <p:sp>
          <p:nvSpPr>
            <p:cNvPr id="22" name="CuadroTexto 21">
              <a:extLst>
                <a:ext uri="{FF2B5EF4-FFF2-40B4-BE49-F238E27FC236}">
                  <a16:creationId xmlns:a16="http://schemas.microsoft.com/office/drawing/2014/main" id="{EEE776FA-2D7D-6529-E65D-A964FA2544AD}"/>
                </a:ext>
              </a:extLst>
            </p:cNvPr>
            <p:cNvSpPr txBox="1"/>
            <p:nvPr/>
          </p:nvSpPr>
          <p:spPr>
            <a:xfrm>
              <a:off x="9492136" y="511862"/>
              <a:ext cx="1363227" cy="307777"/>
            </a:xfrm>
            <a:prstGeom prst="rect">
              <a:avLst/>
            </a:prstGeom>
            <a:noFill/>
          </p:spPr>
          <p:txBody>
            <a:bodyPr wrap="square">
              <a:spAutoFit/>
            </a:bodyPr>
            <a:lstStyle/>
            <a:p>
              <a:r>
                <a:rPr lang="es-CL" sz="1200">
                  <a:solidFill>
                    <a:schemeClr val="bg2">
                      <a:lumMod val="25000"/>
                    </a:schemeClr>
                  </a:solidFill>
                  <a:latin typeface="gobCL"/>
                </a:rPr>
                <a:t>En</a:t>
              </a:r>
              <a:r>
                <a:rPr lang="es-CL" sz="1400" b="0" i="0" u="none" strike="noStrike">
                  <a:solidFill>
                    <a:schemeClr val="bg2">
                      <a:lumMod val="25000"/>
                    </a:schemeClr>
                  </a:solidFill>
                  <a:effectLst/>
                  <a:latin typeface="gobCL"/>
                </a:rPr>
                <a:t> </a:t>
              </a:r>
              <a:r>
                <a:rPr lang="es-CL" sz="1200">
                  <a:solidFill>
                    <a:schemeClr val="bg2">
                      <a:lumMod val="25000"/>
                    </a:schemeClr>
                  </a:solidFill>
                  <a:latin typeface="gobCL"/>
                </a:rPr>
                <a:t>proceso</a:t>
              </a:r>
            </a:p>
          </p:txBody>
        </p:sp>
        <p:sp>
          <p:nvSpPr>
            <p:cNvPr id="23" name="CuadroTexto 22">
              <a:extLst>
                <a:ext uri="{FF2B5EF4-FFF2-40B4-BE49-F238E27FC236}">
                  <a16:creationId xmlns:a16="http://schemas.microsoft.com/office/drawing/2014/main" id="{9F84EF97-25ED-4B94-047F-F8864E1F7B81}"/>
                </a:ext>
              </a:extLst>
            </p:cNvPr>
            <p:cNvSpPr txBox="1"/>
            <p:nvPr/>
          </p:nvSpPr>
          <p:spPr>
            <a:xfrm>
              <a:off x="9492136" y="803400"/>
              <a:ext cx="1363227" cy="276999"/>
            </a:xfrm>
            <a:prstGeom prst="rect">
              <a:avLst/>
            </a:prstGeom>
            <a:noFill/>
          </p:spPr>
          <p:txBody>
            <a:bodyPr wrap="square">
              <a:spAutoFit/>
            </a:bodyPr>
            <a:lstStyle/>
            <a:p>
              <a:r>
                <a:rPr lang="es-CL" sz="1200">
                  <a:solidFill>
                    <a:schemeClr val="bg2">
                      <a:lumMod val="25000"/>
                    </a:schemeClr>
                  </a:solidFill>
                  <a:latin typeface="gobCL"/>
                </a:rPr>
                <a:t>Pendiente</a:t>
              </a:r>
            </a:p>
          </p:txBody>
        </p:sp>
        <p:pic>
          <p:nvPicPr>
            <p:cNvPr id="24" name="Gráfico 23" descr="Harvey Balls 100% con relleno sólido">
              <a:extLst>
                <a:ext uri="{FF2B5EF4-FFF2-40B4-BE49-F238E27FC236}">
                  <a16:creationId xmlns:a16="http://schemas.microsoft.com/office/drawing/2014/main" id="{9A476951-C11C-FFDC-F358-6138F9A47C3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42105" y="816885"/>
              <a:ext cx="250031" cy="250031"/>
            </a:xfrm>
            <a:prstGeom prst="rect">
              <a:avLst/>
            </a:prstGeom>
          </p:spPr>
        </p:pic>
        <p:pic>
          <p:nvPicPr>
            <p:cNvPr id="25" name="Gráfico 24" descr="Harvey Balls 100% con relleno sólido">
              <a:extLst>
                <a:ext uri="{FF2B5EF4-FFF2-40B4-BE49-F238E27FC236}">
                  <a16:creationId xmlns:a16="http://schemas.microsoft.com/office/drawing/2014/main" id="{2016EEA6-A89B-1FA6-323D-3CDEABB363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242105" y="249597"/>
              <a:ext cx="250031" cy="250031"/>
            </a:xfrm>
            <a:prstGeom prst="rect">
              <a:avLst/>
            </a:prstGeom>
          </p:spPr>
        </p:pic>
      </p:grpSp>
      <p:pic>
        <p:nvPicPr>
          <p:cNvPr id="26" name="Gráfico 25" descr="Harvey Balls 100% con relleno sólido">
            <a:extLst>
              <a:ext uri="{FF2B5EF4-FFF2-40B4-BE49-F238E27FC236}">
                <a16:creationId xmlns:a16="http://schemas.microsoft.com/office/drawing/2014/main" id="{E0A5C576-FD49-CB18-63D9-45C93AACFF7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385801" y="1866684"/>
            <a:ext cx="351110" cy="351110"/>
          </a:xfrm>
          <a:prstGeom prst="rect">
            <a:avLst/>
          </a:prstGeom>
        </p:spPr>
      </p:pic>
      <p:pic>
        <p:nvPicPr>
          <p:cNvPr id="27" name="Gráfico 26" descr="Harvey Balls 100% con relleno sólido">
            <a:extLst>
              <a:ext uri="{FF2B5EF4-FFF2-40B4-BE49-F238E27FC236}">
                <a16:creationId xmlns:a16="http://schemas.microsoft.com/office/drawing/2014/main" id="{6C268E0B-DCC0-DF50-1DB1-D7806FE1CFC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376747" y="3429000"/>
            <a:ext cx="351110" cy="351110"/>
          </a:xfrm>
          <a:prstGeom prst="rect">
            <a:avLst/>
          </a:prstGeom>
        </p:spPr>
      </p:pic>
    </p:spTree>
    <p:extLst>
      <p:ext uri="{BB962C8B-B14F-4D97-AF65-F5344CB8AC3E}">
        <p14:creationId xmlns:p14="http://schemas.microsoft.com/office/powerpoint/2010/main" val="416324759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66AE1B3-A580-482F-9F24-45B1B9245A2F}"/>
              </a:ext>
            </a:extLst>
          </p:cNvPr>
          <p:cNvSpPr>
            <a:spLocks noGrp="1"/>
          </p:cNvSpPr>
          <p:nvPr>
            <p:ph type="title"/>
          </p:nvPr>
        </p:nvSpPr>
        <p:spPr>
          <a:xfrm>
            <a:off x="556827" y="314981"/>
            <a:ext cx="6088417" cy="639586"/>
          </a:xfrm>
        </p:spPr>
        <p:txBody>
          <a:bodyPr>
            <a:normAutofit/>
          </a:bodyPr>
          <a:lstStyle/>
          <a:p>
            <a:r>
              <a:rPr lang="es-ES" sz="2800" b="1">
                <a:solidFill>
                  <a:srgbClr val="1A507C"/>
                </a:solidFill>
                <a:latin typeface="gobCL"/>
                <a:ea typeface="+mn-ea"/>
                <a:cs typeface="+mn-cs"/>
              </a:rPr>
              <a:t>Mesas Transversales</a:t>
            </a:r>
            <a:endParaRPr lang="es-CL" sz="2800" b="1">
              <a:solidFill>
                <a:srgbClr val="1A507C"/>
              </a:solidFill>
              <a:latin typeface="gobCL"/>
              <a:ea typeface="+mn-ea"/>
              <a:cs typeface="+mn-cs"/>
            </a:endParaRPr>
          </a:p>
        </p:txBody>
      </p:sp>
      <p:sp>
        <p:nvSpPr>
          <p:cNvPr id="5" name="Elipse 4">
            <a:extLst>
              <a:ext uri="{FF2B5EF4-FFF2-40B4-BE49-F238E27FC236}">
                <a16:creationId xmlns:a16="http://schemas.microsoft.com/office/drawing/2014/main" id="{C75B7C43-8DF4-4FF8-CDAA-78D79794023C}"/>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 name="Marcador de número de diapositiva 2">
            <a:extLst>
              <a:ext uri="{FF2B5EF4-FFF2-40B4-BE49-F238E27FC236}">
                <a16:creationId xmlns:a16="http://schemas.microsoft.com/office/drawing/2014/main" id="{EFE71632-71DE-2A54-64EA-E99EEEC99809}"/>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48</a:t>
            </a:fld>
            <a:endParaRPr lang="en-US" b="1">
              <a:solidFill>
                <a:schemeClr val="bg1"/>
              </a:solidFill>
              <a:latin typeface="Calibri"/>
              <a:ea typeface="ヒラギノ角ゴ Pro W3"/>
              <a:cs typeface="Calibri"/>
            </a:endParaRPr>
          </a:p>
        </p:txBody>
      </p:sp>
      <p:graphicFrame>
        <p:nvGraphicFramePr>
          <p:cNvPr id="3" name="Tabla 2">
            <a:extLst>
              <a:ext uri="{FF2B5EF4-FFF2-40B4-BE49-F238E27FC236}">
                <a16:creationId xmlns:a16="http://schemas.microsoft.com/office/drawing/2014/main" id="{9220FDDA-5187-89D4-426E-54589DFC76B5}"/>
              </a:ext>
            </a:extLst>
          </p:cNvPr>
          <p:cNvGraphicFramePr>
            <a:graphicFrameLocks noGrp="1"/>
          </p:cNvGraphicFramePr>
          <p:nvPr>
            <p:extLst>
              <p:ext uri="{D42A27DB-BD31-4B8C-83A1-F6EECF244321}">
                <p14:modId xmlns:p14="http://schemas.microsoft.com/office/powerpoint/2010/main" val="3793372506"/>
              </p:ext>
            </p:extLst>
          </p:nvPr>
        </p:nvGraphicFramePr>
        <p:xfrm>
          <a:off x="606583" y="1405551"/>
          <a:ext cx="10293790" cy="4216115"/>
        </p:xfrm>
        <a:graphic>
          <a:graphicData uri="http://schemas.openxmlformats.org/drawingml/2006/table">
            <a:tbl>
              <a:tblPr firstRow="1" bandRow="1">
                <a:tableStyleId>{B301B821-A1FF-4177-AEE7-76D212191A09}</a:tableStyleId>
              </a:tblPr>
              <a:tblGrid>
                <a:gridCol w="9599515">
                  <a:extLst>
                    <a:ext uri="{9D8B030D-6E8A-4147-A177-3AD203B41FA5}">
                      <a16:colId xmlns:a16="http://schemas.microsoft.com/office/drawing/2014/main" val="265563881"/>
                    </a:ext>
                  </a:extLst>
                </a:gridCol>
                <a:gridCol w="694275">
                  <a:extLst>
                    <a:ext uri="{9D8B030D-6E8A-4147-A177-3AD203B41FA5}">
                      <a16:colId xmlns:a16="http://schemas.microsoft.com/office/drawing/2014/main" val="701581697"/>
                    </a:ext>
                  </a:extLst>
                </a:gridCol>
              </a:tblGrid>
              <a:tr h="287448">
                <a:tc>
                  <a:txBody>
                    <a:bodyPr/>
                    <a:lstStyle/>
                    <a:p>
                      <a:pPr algn="ctr" fontAlgn="b"/>
                      <a:r>
                        <a:rPr lang="es-CL" sz="2000" u="none" strike="noStrike">
                          <a:effectLst/>
                          <a:latin typeface="gobCL"/>
                        </a:rPr>
                        <a:t>I</a:t>
                      </a:r>
                      <a:r>
                        <a:rPr lang="es-ES" sz="2000" u="none" strike="noStrike">
                          <a:effectLst/>
                          <a:latin typeface="gobCL"/>
                        </a:rPr>
                        <a:t>NCENTIVO AL RETIRO</a:t>
                      </a:r>
                      <a:endParaRPr lang="es-CL" sz="2000" u="none" strike="noStrike">
                        <a:effectLst/>
                        <a:latin typeface="gobCL"/>
                      </a:endParaRPr>
                    </a:p>
                  </a:txBody>
                  <a:tcPr marL="8601" marR="8601" marT="8601" marB="0" anchor="ctr">
                    <a:lnL w="0">
                      <a:noFill/>
                    </a:lnL>
                    <a:lnR w="0">
                      <a:noFill/>
                    </a:lnR>
                    <a:lnT w="0">
                      <a:noFill/>
                    </a:lnT>
                    <a:lnB w="0">
                      <a:noFill/>
                    </a:lnB>
                    <a:solidFill>
                      <a:srgbClr val="004677"/>
                    </a:solidFill>
                  </a:tcPr>
                </a:tc>
                <a:tc>
                  <a:txBody>
                    <a:bodyPr/>
                    <a:lstStyle/>
                    <a:p>
                      <a:pPr algn="ctr" fontAlgn="b"/>
                      <a:endParaRPr lang="es-CL" sz="1400" u="none" strike="noStrike">
                        <a:effectLst/>
                        <a:latin typeface="gobCL" pitchFamily="50" charset="0"/>
                      </a:endParaRPr>
                    </a:p>
                  </a:txBody>
                  <a:tcPr marL="8601" marR="8601" marT="8601" marB="0" anchor="ctr">
                    <a:lnL w="0">
                      <a:noFill/>
                    </a:lnL>
                    <a:lnR w="0">
                      <a:noFill/>
                    </a:lnR>
                    <a:lnT w="0">
                      <a:noFill/>
                    </a:lnT>
                    <a:lnB w="0">
                      <a:noFill/>
                    </a:lnB>
                    <a:solidFill>
                      <a:srgbClr val="004677"/>
                    </a:solidFill>
                  </a:tcPr>
                </a:tc>
                <a:extLst>
                  <a:ext uri="{0D108BD9-81ED-4DB2-BD59-A6C34878D82A}">
                    <a16:rowId xmlns:a16="http://schemas.microsoft.com/office/drawing/2014/main" val="421966448"/>
                  </a:ext>
                </a:extLst>
              </a:tr>
              <a:tr h="861955">
                <a:tc>
                  <a:txBody>
                    <a:bodyPr/>
                    <a:lstStyle/>
                    <a:p>
                      <a:pPr marL="0" algn="l" rtl="0" eaLnBrk="1" fontAlgn="b" latinLnBrk="0" hangingPunct="1"/>
                      <a:r>
                        <a:rPr lang="es-ES" sz="1600" u="none" strike="noStrike" kern="1200">
                          <a:solidFill>
                            <a:srgbClr val="1A507C"/>
                          </a:solidFill>
                          <a:effectLst/>
                          <a:latin typeface="gobCL"/>
                          <a:ea typeface="+mn-ea"/>
                          <a:cs typeface="+mn-cs"/>
                        </a:rPr>
                        <a:t>C1: Instalar Mesa sobre Incentivos al Retiro, que realizará un seguimiento de la implementación de los planes de retiro vigentes, considerando cupos, beneficios entregados, postulantes, población potencial de acogerse al retiro, y problemas de implementación detectados.</a:t>
                      </a:r>
                    </a:p>
                  </a:txBody>
                  <a:tcPr marL="6350" marR="6350" marT="6350" marB="0" anchor="ctr">
                    <a:lnL w="0">
                      <a:noFill/>
                    </a:lnL>
                    <a:lnR w="0">
                      <a:noFill/>
                    </a:lnR>
                    <a:lnT w="0">
                      <a:noFill/>
                    </a:lnT>
                    <a:lnB w="0">
                      <a:noFill/>
                    </a:lnB>
                    <a:noFill/>
                  </a:tcPr>
                </a:tc>
                <a:tc>
                  <a:txBody>
                    <a:bodyPr/>
                    <a:lstStyle/>
                    <a:p>
                      <a:pPr algn="l" fontAlgn="b"/>
                      <a:endParaRPr lang="es-CL" sz="16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3642547395"/>
                  </a:ext>
                </a:extLst>
              </a:tr>
              <a:tr h="939686">
                <a:tc>
                  <a:txBody>
                    <a:bodyPr/>
                    <a:lstStyle/>
                    <a:p>
                      <a:pPr marL="0" algn="l" rtl="0" eaLnBrk="1" fontAlgn="b" latinLnBrk="0" hangingPunct="1"/>
                      <a:r>
                        <a:rPr lang="es-ES" sz="1600" u="none" strike="noStrike" kern="1200">
                          <a:solidFill>
                            <a:srgbClr val="1A507C"/>
                          </a:solidFill>
                          <a:effectLst/>
                          <a:latin typeface="gobCL"/>
                          <a:ea typeface="+mn-ea"/>
                          <a:cs typeface="+mn-cs"/>
                        </a:rPr>
                        <a:t>C2: Los resultados de esta mesa serán utilizados para proponer medidas de transición para resolver la situación tanto de postulantes excedidos de edad de jubilación que han quedado sin cupo, como de funcionarios que padecen enfermedades terminales o catastróficas.</a:t>
                      </a:r>
                    </a:p>
                  </a:txBody>
                  <a:tcPr marL="6350" marR="6350" marT="6350" marB="0" anchor="ctr">
                    <a:lnL w="0">
                      <a:noFill/>
                    </a:lnL>
                    <a:lnR w="0">
                      <a:noFill/>
                    </a:lnR>
                    <a:lnT w="0">
                      <a:noFill/>
                    </a:lnT>
                    <a:lnB w="0">
                      <a:noFill/>
                    </a:lnB>
                    <a:noFill/>
                  </a:tcPr>
                </a:tc>
                <a:tc>
                  <a:txBody>
                    <a:bodyPr/>
                    <a:lstStyle/>
                    <a:p>
                      <a:pPr algn="l" fontAlgn="b"/>
                      <a:endParaRPr lang="es-CL" sz="16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579461283"/>
                  </a:ext>
                </a:extLst>
              </a:tr>
              <a:tr h="571638">
                <a:tc>
                  <a:txBody>
                    <a:bodyPr/>
                    <a:lstStyle/>
                    <a:p>
                      <a:pPr marL="0" algn="l" rtl="0" eaLnBrk="1" fontAlgn="b" latinLnBrk="0" hangingPunct="1"/>
                      <a:r>
                        <a:rPr lang="es-ES" sz="1600" u="none" strike="noStrike" kern="1200">
                          <a:solidFill>
                            <a:srgbClr val="1A507C"/>
                          </a:solidFill>
                          <a:effectLst/>
                          <a:latin typeface="gobCL"/>
                          <a:ea typeface="+mn-ea"/>
                          <a:cs typeface="+mn-cs"/>
                        </a:rPr>
                        <a:t>C3: Trabajar en un mecanismo de incentivo al retiro permanente focalizado en funcionarios/as de 65 años o menos, que sea compatible con la reforma previsional. </a:t>
                      </a:r>
                    </a:p>
                  </a:txBody>
                  <a:tcPr marL="6350" marR="6350" marT="6350" marB="0" anchor="ctr">
                    <a:lnL w="0">
                      <a:noFill/>
                    </a:lnL>
                    <a:lnR w="0">
                      <a:noFill/>
                    </a:lnR>
                    <a:lnT w="0">
                      <a:noFill/>
                    </a:lnT>
                    <a:lnB w="0">
                      <a:noFill/>
                    </a:lnB>
                    <a:noFill/>
                  </a:tcPr>
                </a:tc>
                <a:tc>
                  <a:txBody>
                    <a:bodyPr/>
                    <a:lstStyle/>
                    <a:p>
                      <a:pPr algn="l" fontAlgn="b"/>
                      <a:endParaRPr lang="es-CL" sz="16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3105789907"/>
                  </a:ext>
                </a:extLst>
              </a:tr>
              <a:tr h="751373">
                <a:tc>
                  <a:txBody>
                    <a:bodyPr/>
                    <a:lstStyle/>
                    <a:p>
                      <a:pPr marL="0" algn="l" rtl="0" eaLnBrk="1" fontAlgn="b" latinLnBrk="0" hangingPunct="1"/>
                      <a:r>
                        <a:rPr lang="es-ES" sz="1600" u="none" strike="noStrike" kern="1200">
                          <a:solidFill>
                            <a:srgbClr val="1A507C"/>
                          </a:solidFill>
                          <a:effectLst/>
                          <a:latin typeface="gobCL"/>
                          <a:ea typeface="+mn-ea"/>
                          <a:cs typeface="+mn-cs"/>
                        </a:rPr>
                        <a:t>C4: Para efectos de su funcionamiento, se trabajará en coordinación con las mesas sectoriales que correspondan a los funcionarios involucrados. </a:t>
                      </a:r>
                    </a:p>
                  </a:txBody>
                  <a:tcPr marL="6350" marR="6350" marT="6350" marB="0" anchor="ctr">
                    <a:lnL w="0">
                      <a:noFill/>
                    </a:lnL>
                    <a:lnR w="0">
                      <a:noFill/>
                    </a:lnR>
                    <a:lnT w="0">
                      <a:noFill/>
                    </a:lnT>
                    <a:lnB w="0">
                      <a:noFill/>
                    </a:lnB>
                    <a:noFill/>
                  </a:tcPr>
                </a:tc>
                <a:tc>
                  <a:txBody>
                    <a:bodyPr/>
                    <a:lstStyle/>
                    <a:p>
                      <a:pPr algn="l" fontAlgn="b"/>
                      <a:endParaRPr lang="es-CL" sz="16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606976117"/>
                  </a:ext>
                </a:extLst>
              </a:tr>
              <a:tr h="778062">
                <a:tc>
                  <a:txBody>
                    <a:bodyPr/>
                    <a:lstStyle/>
                    <a:p>
                      <a:pPr marL="0" algn="l" rtl="0" eaLnBrk="1" fontAlgn="b" latinLnBrk="0" hangingPunct="1"/>
                      <a:r>
                        <a:rPr lang="es-ES" sz="1600" u="none" strike="noStrike" kern="1200">
                          <a:solidFill>
                            <a:srgbClr val="1A507C"/>
                          </a:solidFill>
                          <a:effectLst/>
                          <a:latin typeface="gobCL"/>
                          <a:ea typeface="+mn-ea"/>
                          <a:cs typeface="+mn-cs"/>
                        </a:rPr>
                        <a:t>C5: La Dirección Nacional del Servicio Civil impartirá orientaciones a las instituciones afectas al bono post laboral, para que adopten las medidas necesarias que permitan la difusión de la ampliación del plazo de postulación respecto de los exfuncionarios o exfuncionarias que no accedieron a dicho bono por motivos no imputables a ellos.</a:t>
                      </a:r>
                    </a:p>
                  </a:txBody>
                  <a:tcPr marL="6350" marR="6350" marT="6350" marB="0" anchor="ctr">
                    <a:lnL w="0">
                      <a:noFill/>
                    </a:lnL>
                    <a:lnR w="0">
                      <a:noFill/>
                    </a:lnR>
                    <a:lnT w="0">
                      <a:noFill/>
                    </a:lnT>
                    <a:lnB w="0">
                      <a:noFill/>
                    </a:lnB>
                    <a:noFill/>
                  </a:tcPr>
                </a:tc>
                <a:tc>
                  <a:txBody>
                    <a:bodyPr/>
                    <a:lstStyle/>
                    <a:p>
                      <a:pPr algn="l" fontAlgn="b"/>
                      <a:endParaRPr lang="es-CL" sz="16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3426263331"/>
                  </a:ext>
                </a:extLst>
              </a:tr>
            </a:tbl>
          </a:graphicData>
        </a:graphic>
      </p:graphicFrame>
      <p:grpSp>
        <p:nvGrpSpPr>
          <p:cNvPr id="19" name="Grupo 18">
            <a:extLst>
              <a:ext uri="{FF2B5EF4-FFF2-40B4-BE49-F238E27FC236}">
                <a16:creationId xmlns:a16="http://schemas.microsoft.com/office/drawing/2014/main" id="{512FE3F2-F785-3921-C479-9CF46A9ACCFF}"/>
              </a:ext>
            </a:extLst>
          </p:cNvPr>
          <p:cNvGrpSpPr/>
          <p:nvPr/>
        </p:nvGrpSpPr>
        <p:grpSpPr>
          <a:xfrm>
            <a:off x="8486731" y="249597"/>
            <a:ext cx="1613258" cy="830802"/>
            <a:chOff x="9242105" y="249597"/>
            <a:chExt cx="1613258" cy="830802"/>
          </a:xfrm>
        </p:grpSpPr>
        <p:pic>
          <p:nvPicPr>
            <p:cNvPr id="20" name="Gráfico 19" descr="Harvey Balls 100% con relleno sólido">
              <a:extLst>
                <a:ext uri="{FF2B5EF4-FFF2-40B4-BE49-F238E27FC236}">
                  <a16:creationId xmlns:a16="http://schemas.microsoft.com/office/drawing/2014/main" id="{C0694162-2FF4-CD15-70BA-F1936E51FC0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42105" y="533241"/>
              <a:ext cx="250031" cy="250031"/>
            </a:xfrm>
            <a:prstGeom prst="rect">
              <a:avLst/>
            </a:prstGeom>
          </p:spPr>
        </p:pic>
        <p:sp>
          <p:nvSpPr>
            <p:cNvPr id="21" name="CuadroTexto 20">
              <a:extLst>
                <a:ext uri="{FF2B5EF4-FFF2-40B4-BE49-F238E27FC236}">
                  <a16:creationId xmlns:a16="http://schemas.microsoft.com/office/drawing/2014/main" id="{E11A4F48-EA07-DBDA-556D-A099E9CE236D}"/>
                </a:ext>
              </a:extLst>
            </p:cNvPr>
            <p:cNvSpPr txBox="1"/>
            <p:nvPr/>
          </p:nvSpPr>
          <p:spPr>
            <a:xfrm>
              <a:off x="9492136" y="251101"/>
              <a:ext cx="1363227" cy="276999"/>
            </a:xfrm>
            <a:prstGeom prst="rect">
              <a:avLst/>
            </a:prstGeom>
            <a:noFill/>
          </p:spPr>
          <p:txBody>
            <a:bodyPr wrap="square">
              <a:spAutoFit/>
            </a:bodyPr>
            <a:lstStyle/>
            <a:p>
              <a:r>
                <a:rPr lang="es-CL" sz="1200">
                  <a:solidFill>
                    <a:schemeClr val="bg2">
                      <a:lumMod val="25000"/>
                    </a:schemeClr>
                  </a:solidFill>
                  <a:latin typeface="gobCL"/>
                </a:rPr>
                <a:t>Completado</a:t>
              </a:r>
            </a:p>
          </p:txBody>
        </p:sp>
        <p:sp>
          <p:nvSpPr>
            <p:cNvPr id="22" name="CuadroTexto 21">
              <a:extLst>
                <a:ext uri="{FF2B5EF4-FFF2-40B4-BE49-F238E27FC236}">
                  <a16:creationId xmlns:a16="http://schemas.microsoft.com/office/drawing/2014/main" id="{EEE776FA-2D7D-6529-E65D-A964FA2544AD}"/>
                </a:ext>
              </a:extLst>
            </p:cNvPr>
            <p:cNvSpPr txBox="1"/>
            <p:nvPr/>
          </p:nvSpPr>
          <p:spPr>
            <a:xfrm>
              <a:off x="9492136" y="511862"/>
              <a:ext cx="1363227" cy="307777"/>
            </a:xfrm>
            <a:prstGeom prst="rect">
              <a:avLst/>
            </a:prstGeom>
            <a:noFill/>
          </p:spPr>
          <p:txBody>
            <a:bodyPr wrap="square">
              <a:spAutoFit/>
            </a:bodyPr>
            <a:lstStyle/>
            <a:p>
              <a:r>
                <a:rPr lang="es-CL" sz="1200">
                  <a:solidFill>
                    <a:schemeClr val="bg2">
                      <a:lumMod val="25000"/>
                    </a:schemeClr>
                  </a:solidFill>
                  <a:latin typeface="gobCL"/>
                </a:rPr>
                <a:t>En</a:t>
              </a:r>
              <a:r>
                <a:rPr lang="es-CL" sz="1400" b="0" i="0" u="none" strike="noStrike">
                  <a:solidFill>
                    <a:schemeClr val="bg2">
                      <a:lumMod val="25000"/>
                    </a:schemeClr>
                  </a:solidFill>
                  <a:effectLst/>
                  <a:latin typeface="gobCL"/>
                </a:rPr>
                <a:t> </a:t>
              </a:r>
              <a:r>
                <a:rPr lang="es-CL" sz="1200">
                  <a:solidFill>
                    <a:schemeClr val="bg2">
                      <a:lumMod val="25000"/>
                    </a:schemeClr>
                  </a:solidFill>
                  <a:latin typeface="gobCL"/>
                </a:rPr>
                <a:t>proceso</a:t>
              </a:r>
            </a:p>
          </p:txBody>
        </p:sp>
        <p:sp>
          <p:nvSpPr>
            <p:cNvPr id="23" name="CuadroTexto 22">
              <a:extLst>
                <a:ext uri="{FF2B5EF4-FFF2-40B4-BE49-F238E27FC236}">
                  <a16:creationId xmlns:a16="http://schemas.microsoft.com/office/drawing/2014/main" id="{9F84EF97-25ED-4B94-047F-F8864E1F7B81}"/>
                </a:ext>
              </a:extLst>
            </p:cNvPr>
            <p:cNvSpPr txBox="1"/>
            <p:nvPr/>
          </p:nvSpPr>
          <p:spPr>
            <a:xfrm>
              <a:off x="9492136" y="803400"/>
              <a:ext cx="1363227" cy="276999"/>
            </a:xfrm>
            <a:prstGeom prst="rect">
              <a:avLst/>
            </a:prstGeom>
            <a:noFill/>
          </p:spPr>
          <p:txBody>
            <a:bodyPr wrap="square">
              <a:spAutoFit/>
            </a:bodyPr>
            <a:lstStyle/>
            <a:p>
              <a:r>
                <a:rPr lang="es-CL" sz="1200">
                  <a:solidFill>
                    <a:schemeClr val="bg2">
                      <a:lumMod val="25000"/>
                    </a:schemeClr>
                  </a:solidFill>
                  <a:latin typeface="gobCL"/>
                </a:rPr>
                <a:t>Pendiente</a:t>
              </a:r>
            </a:p>
          </p:txBody>
        </p:sp>
        <p:pic>
          <p:nvPicPr>
            <p:cNvPr id="24" name="Gráfico 23" descr="Harvey Balls 100% con relleno sólido">
              <a:extLst>
                <a:ext uri="{FF2B5EF4-FFF2-40B4-BE49-F238E27FC236}">
                  <a16:creationId xmlns:a16="http://schemas.microsoft.com/office/drawing/2014/main" id="{9A476951-C11C-FFDC-F358-6138F9A47C3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42105" y="816885"/>
              <a:ext cx="250031" cy="250031"/>
            </a:xfrm>
            <a:prstGeom prst="rect">
              <a:avLst/>
            </a:prstGeom>
          </p:spPr>
        </p:pic>
        <p:pic>
          <p:nvPicPr>
            <p:cNvPr id="25" name="Gráfico 24" descr="Harvey Balls 100% con relleno sólido">
              <a:extLst>
                <a:ext uri="{FF2B5EF4-FFF2-40B4-BE49-F238E27FC236}">
                  <a16:creationId xmlns:a16="http://schemas.microsoft.com/office/drawing/2014/main" id="{2016EEA6-A89B-1FA6-323D-3CDEABB363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242105" y="249597"/>
              <a:ext cx="250031" cy="250031"/>
            </a:xfrm>
            <a:prstGeom prst="rect">
              <a:avLst/>
            </a:prstGeom>
          </p:spPr>
        </p:pic>
      </p:grpSp>
      <p:pic>
        <p:nvPicPr>
          <p:cNvPr id="26" name="Gráfico 25" descr="Harvey Balls 100% con relleno sólido">
            <a:extLst>
              <a:ext uri="{FF2B5EF4-FFF2-40B4-BE49-F238E27FC236}">
                <a16:creationId xmlns:a16="http://schemas.microsoft.com/office/drawing/2014/main" id="{E0A5C576-FD49-CB18-63D9-45C93AACFF7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366727" y="1837097"/>
            <a:ext cx="351110" cy="351110"/>
          </a:xfrm>
          <a:prstGeom prst="rect">
            <a:avLst/>
          </a:prstGeom>
        </p:spPr>
      </p:pic>
      <p:pic>
        <p:nvPicPr>
          <p:cNvPr id="27" name="Gráfico 26" descr="Harvey Balls 100% con relleno sólido">
            <a:extLst>
              <a:ext uri="{FF2B5EF4-FFF2-40B4-BE49-F238E27FC236}">
                <a16:creationId xmlns:a16="http://schemas.microsoft.com/office/drawing/2014/main" id="{6C268E0B-DCC0-DF50-1DB1-D7806FE1CFC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366727" y="3515996"/>
            <a:ext cx="351110" cy="351110"/>
          </a:xfrm>
          <a:prstGeom prst="rect">
            <a:avLst/>
          </a:prstGeom>
        </p:spPr>
      </p:pic>
      <p:pic>
        <p:nvPicPr>
          <p:cNvPr id="28" name="Gráfico 27" descr="Harvey Balls 100% con relleno sólido">
            <a:extLst>
              <a:ext uri="{FF2B5EF4-FFF2-40B4-BE49-F238E27FC236}">
                <a16:creationId xmlns:a16="http://schemas.microsoft.com/office/drawing/2014/main" id="{828A58F4-3151-F364-004C-8380B0CE5C2F}"/>
              </a:ext>
            </a:extLst>
          </p:cNvPr>
          <p:cNvPicPr>
            <a:picLocks noChangeAspect="1"/>
          </p:cNvPicPr>
          <p:nvPr/>
        </p:nvPicPr>
        <p:blipFill>
          <a:blip r:embed="rId6">
            <a:extLst>
              <a:ext uri="{96DAC541-7B7A-43D3-8B79-37D633B846F1}">
                <asvg:svgBlip xmlns:asvg="http://schemas.microsoft.com/office/drawing/2016/SVG/main" r:embed="rId12"/>
              </a:ext>
            </a:extLst>
          </a:blip>
          <a:stretch>
            <a:fillRect/>
          </a:stretch>
        </p:blipFill>
        <p:spPr>
          <a:xfrm>
            <a:off x="10366727" y="2685213"/>
            <a:ext cx="351110" cy="351110"/>
          </a:xfrm>
          <a:prstGeom prst="rect">
            <a:avLst/>
          </a:prstGeom>
        </p:spPr>
      </p:pic>
      <p:pic>
        <p:nvPicPr>
          <p:cNvPr id="29" name="Gráfico 28" descr="Harvey Balls 100% con relleno sólido">
            <a:extLst>
              <a:ext uri="{FF2B5EF4-FFF2-40B4-BE49-F238E27FC236}">
                <a16:creationId xmlns:a16="http://schemas.microsoft.com/office/drawing/2014/main" id="{11FBF7D3-FD7E-5ACC-58F1-5E77F4E82E93}"/>
              </a:ext>
            </a:extLst>
          </p:cNvPr>
          <p:cNvPicPr>
            <a:picLocks noChangeAspect="1"/>
          </p:cNvPicPr>
          <p:nvPr/>
        </p:nvPicPr>
        <p:blipFill>
          <a:blip r:embed="rId6">
            <a:extLst>
              <a:ext uri="{96DAC541-7B7A-43D3-8B79-37D633B846F1}">
                <asvg:svgBlip xmlns:asvg="http://schemas.microsoft.com/office/drawing/2016/SVG/main" r:embed="rId12"/>
              </a:ext>
            </a:extLst>
          </a:blip>
          <a:stretch>
            <a:fillRect/>
          </a:stretch>
        </p:blipFill>
        <p:spPr>
          <a:xfrm>
            <a:off x="10366727" y="4184306"/>
            <a:ext cx="351110" cy="351110"/>
          </a:xfrm>
          <a:prstGeom prst="rect">
            <a:avLst/>
          </a:prstGeom>
        </p:spPr>
      </p:pic>
      <p:pic>
        <p:nvPicPr>
          <p:cNvPr id="4" name="Gráfico 26" descr="Harvey Balls 100% con relleno sólido">
            <a:extLst>
              <a:ext uri="{FF2B5EF4-FFF2-40B4-BE49-F238E27FC236}">
                <a16:creationId xmlns:a16="http://schemas.microsoft.com/office/drawing/2014/main" id="{A9F7DAA2-56CF-3116-1307-8FA14F1C7EF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366727" y="4835789"/>
            <a:ext cx="386551" cy="351110"/>
          </a:xfrm>
          <a:prstGeom prst="rect">
            <a:avLst/>
          </a:prstGeom>
        </p:spPr>
      </p:pic>
    </p:spTree>
    <p:extLst>
      <p:ext uri="{BB962C8B-B14F-4D97-AF65-F5344CB8AC3E}">
        <p14:creationId xmlns:p14="http://schemas.microsoft.com/office/powerpoint/2010/main" val="185336743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66AE1B3-A580-482F-9F24-45B1B9245A2F}"/>
              </a:ext>
            </a:extLst>
          </p:cNvPr>
          <p:cNvSpPr>
            <a:spLocks noGrp="1"/>
          </p:cNvSpPr>
          <p:nvPr>
            <p:ph type="title"/>
          </p:nvPr>
        </p:nvSpPr>
        <p:spPr>
          <a:xfrm>
            <a:off x="565880" y="287820"/>
            <a:ext cx="10515600" cy="639586"/>
          </a:xfrm>
        </p:spPr>
        <p:txBody>
          <a:bodyPr>
            <a:normAutofit/>
          </a:bodyPr>
          <a:lstStyle/>
          <a:p>
            <a:r>
              <a:rPr lang="es-ES" sz="2800" b="1">
                <a:solidFill>
                  <a:srgbClr val="1F4E79"/>
                </a:solidFill>
                <a:latin typeface="gobCL"/>
                <a:ea typeface="+mn-ea"/>
                <a:cs typeface="+mn-cs"/>
              </a:rPr>
              <a:t>Mesas Transversales</a:t>
            </a:r>
            <a:endParaRPr lang="es-CL" sz="2800" b="1">
              <a:solidFill>
                <a:srgbClr val="1F4E79"/>
              </a:solidFill>
              <a:latin typeface="gobCL"/>
              <a:ea typeface="+mn-ea"/>
              <a:cs typeface="+mn-cs"/>
            </a:endParaRPr>
          </a:p>
        </p:txBody>
      </p:sp>
      <p:sp>
        <p:nvSpPr>
          <p:cNvPr id="5" name="Elipse 4">
            <a:extLst>
              <a:ext uri="{FF2B5EF4-FFF2-40B4-BE49-F238E27FC236}">
                <a16:creationId xmlns:a16="http://schemas.microsoft.com/office/drawing/2014/main" id="{C75B7C43-8DF4-4FF8-CDAA-78D79794023C}"/>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 name="Marcador de número de diapositiva 2">
            <a:extLst>
              <a:ext uri="{FF2B5EF4-FFF2-40B4-BE49-F238E27FC236}">
                <a16:creationId xmlns:a16="http://schemas.microsoft.com/office/drawing/2014/main" id="{EFE71632-71DE-2A54-64EA-E99EEEC99809}"/>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49</a:t>
            </a:fld>
            <a:endParaRPr lang="en-US" b="1">
              <a:solidFill>
                <a:schemeClr val="bg1"/>
              </a:solidFill>
              <a:latin typeface="Calibri"/>
              <a:ea typeface="ヒラギノ角ゴ Pro W3"/>
              <a:cs typeface="Calibri"/>
            </a:endParaRPr>
          </a:p>
        </p:txBody>
      </p:sp>
      <p:graphicFrame>
        <p:nvGraphicFramePr>
          <p:cNvPr id="3" name="Tabla 2">
            <a:extLst>
              <a:ext uri="{FF2B5EF4-FFF2-40B4-BE49-F238E27FC236}">
                <a16:creationId xmlns:a16="http://schemas.microsoft.com/office/drawing/2014/main" id="{9220FDDA-5187-89D4-426E-54589DFC76B5}"/>
              </a:ext>
            </a:extLst>
          </p:cNvPr>
          <p:cNvGraphicFramePr>
            <a:graphicFrameLocks noGrp="1"/>
          </p:cNvGraphicFramePr>
          <p:nvPr>
            <p:extLst>
              <p:ext uri="{D42A27DB-BD31-4B8C-83A1-F6EECF244321}">
                <p14:modId xmlns:p14="http://schemas.microsoft.com/office/powerpoint/2010/main" val="176263533"/>
              </p:ext>
            </p:extLst>
          </p:nvPr>
        </p:nvGraphicFramePr>
        <p:xfrm>
          <a:off x="601735" y="1387434"/>
          <a:ext cx="10289584" cy="3853086"/>
        </p:xfrm>
        <a:graphic>
          <a:graphicData uri="http://schemas.openxmlformats.org/drawingml/2006/table">
            <a:tbl>
              <a:tblPr firstRow="1" bandRow="1">
                <a:tableStyleId>{B301B821-A1FF-4177-AEE7-76D212191A09}</a:tableStyleId>
              </a:tblPr>
              <a:tblGrid>
                <a:gridCol w="9593619">
                  <a:extLst>
                    <a:ext uri="{9D8B030D-6E8A-4147-A177-3AD203B41FA5}">
                      <a16:colId xmlns:a16="http://schemas.microsoft.com/office/drawing/2014/main" val="265563881"/>
                    </a:ext>
                  </a:extLst>
                </a:gridCol>
                <a:gridCol w="695965">
                  <a:extLst>
                    <a:ext uri="{9D8B030D-6E8A-4147-A177-3AD203B41FA5}">
                      <a16:colId xmlns:a16="http://schemas.microsoft.com/office/drawing/2014/main" val="701581697"/>
                    </a:ext>
                  </a:extLst>
                </a:gridCol>
              </a:tblGrid>
              <a:tr h="350831">
                <a:tc>
                  <a:txBody>
                    <a:bodyPr/>
                    <a:lstStyle/>
                    <a:p>
                      <a:pPr algn="ctr" fontAlgn="b"/>
                      <a:r>
                        <a:rPr lang="es-ES" sz="2000" u="none" strike="noStrike">
                          <a:effectLst/>
                          <a:latin typeface="gobCL"/>
                        </a:rPr>
                        <a:t>TELETRABAJO (4)</a:t>
                      </a:r>
                      <a:endParaRPr lang="es-CL" sz="2000" u="none" strike="noStrike">
                        <a:effectLst/>
                        <a:latin typeface="gobCL"/>
                      </a:endParaRPr>
                    </a:p>
                  </a:txBody>
                  <a:tcPr marL="8601" marR="8601" marT="8601" marB="0" anchor="ctr">
                    <a:lnL w="0">
                      <a:noFill/>
                    </a:lnL>
                    <a:lnR w="0">
                      <a:noFill/>
                    </a:lnR>
                    <a:lnT w="0">
                      <a:noFill/>
                    </a:lnT>
                    <a:lnB w="0">
                      <a:noFill/>
                    </a:lnB>
                    <a:solidFill>
                      <a:srgbClr val="004677"/>
                    </a:solidFill>
                  </a:tcPr>
                </a:tc>
                <a:tc>
                  <a:txBody>
                    <a:bodyPr/>
                    <a:lstStyle/>
                    <a:p>
                      <a:pPr algn="ctr" fontAlgn="b"/>
                      <a:endParaRPr lang="es-CL" sz="1400" u="none" strike="noStrike">
                        <a:effectLst/>
                        <a:latin typeface="gobCL" pitchFamily="50" charset="0"/>
                      </a:endParaRPr>
                    </a:p>
                  </a:txBody>
                  <a:tcPr marL="8601" marR="8601" marT="8601" marB="0" anchor="ctr">
                    <a:lnL w="0">
                      <a:noFill/>
                    </a:lnL>
                    <a:lnR w="0">
                      <a:noFill/>
                    </a:lnR>
                    <a:lnT w="0">
                      <a:noFill/>
                    </a:lnT>
                    <a:lnB w="0">
                      <a:noFill/>
                    </a:lnB>
                    <a:solidFill>
                      <a:srgbClr val="004677"/>
                    </a:solidFill>
                  </a:tcPr>
                </a:tc>
                <a:extLst>
                  <a:ext uri="{0D108BD9-81ED-4DB2-BD59-A6C34878D82A}">
                    <a16:rowId xmlns:a16="http://schemas.microsoft.com/office/drawing/2014/main" val="421966448"/>
                  </a:ext>
                </a:extLst>
              </a:tr>
              <a:tr h="1069826">
                <a:tc>
                  <a:txBody>
                    <a:bodyPr/>
                    <a:lstStyle/>
                    <a:p>
                      <a:pPr algn="l" fontAlgn="t"/>
                      <a:r>
                        <a:rPr lang="es-ES" sz="1600" u="none" strike="noStrike" kern="1200">
                          <a:solidFill>
                            <a:srgbClr val="1A507C"/>
                          </a:solidFill>
                          <a:effectLst/>
                          <a:latin typeface="gobCL"/>
                          <a:ea typeface="+mn-ea"/>
                          <a:cs typeface="+mn-cs"/>
                        </a:rPr>
                        <a:t>C1: Se instalará, en el mes de enero de 2023, una Mesa de Trabajo que desarrollará el seguimiento periódico de la implementación de la normativa que se presente en la ley de reajuste 2022 para regular la transición entre la situación actual de trabajo remoto a una situación en régimen de teletrabajo en el Estado. </a:t>
                      </a:r>
                    </a:p>
                  </a:txBody>
                  <a:tcPr marL="6350" marR="6350" marT="6350" marB="0" anchor="ctr">
                    <a:lnL w="0">
                      <a:noFill/>
                    </a:lnL>
                    <a:lnR w="0">
                      <a:noFill/>
                    </a:lnR>
                    <a:lnT w="0">
                      <a:noFill/>
                    </a:lnT>
                    <a:lnB w="0">
                      <a:noFill/>
                    </a:lnB>
                    <a:noFill/>
                  </a:tcPr>
                </a:tc>
                <a:tc>
                  <a:txBody>
                    <a:bodyPr/>
                    <a:lstStyle/>
                    <a:p>
                      <a:pPr algn="l" fontAlgn="b"/>
                      <a:endParaRPr lang="es-CL" sz="16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3642547395"/>
                  </a:ext>
                </a:extLst>
              </a:tr>
              <a:tr h="645993">
                <a:tc>
                  <a:txBody>
                    <a:bodyPr/>
                    <a:lstStyle/>
                    <a:p>
                      <a:pPr marL="0" algn="l" rtl="0" eaLnBrk="1" fontAlgn="t" latinLnBrk="0" hangingPunct="1"/>
                      <a:r>
                        <a:rPr lang="es-ES" sz="1600" u="none" strike="noStrike" kern="1200">
                          <a:solidFill>
                            <a:srgbClr val="1A507C"/>
                          </a:solidFill>
                          <a:effectLst/>
                          <a:latin typeface="gobCL"/>
                          <a:ea typeface="+mn-ea"/>
                          <a:cs typeface="+mn-cs"/>
                        </a:rPr>
                        <a:t>C2: El ejecutivo informará a la MSP sobre la normativa que se tramitará en la Ley de Reajuste General y considerará las observaciones y propuestas de las organizaciones sobre la materia.</a:t>
                      </a:r>
                    </a:p>
                  </a:txBody>
                  <a:tcPr marL="6350" marR="6350" marT="6350" marB="0" anchor="ctr">
                    <a:lnL w="0">
                      <a:noFill/>
                    </a:lnL>
                    <a:lnR w="0">
                      <a:noFill/>
                    </a:lnR>
                    <a:lnT w="0">
                      <a:noFill/>
                    </a:lnT>
                    <a:lnB w="0">
                      <a:noFill/>
                    </a:lnB>
                    <a:noFill/>
                  </a:tcPr>
                </a:tc>
                <a:tc>
                  <a:txBody>
                    <a:bodyPr/>
                    <a:lstStyle/>
                    <a:p>
                      <a:pPr algn="l" fontAlgn="b"/>
                      <a:endParaRPr lang="es-CL" sz="16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579461283"/>
                  </a:ext>
                </a:extLst>
              </a:tr>
              <a:tr h="893218">
                <a:tc>
                  <a:txBody>
                    <a:bodyPr/>
                    <a:lstStyle/>
                    <a:p>
                      <a:pPr marL="0" algn="l" rtl="0" eaLnBrk="1" fontAlgn="t" latinLnBrk="0" hangingPunct="1"/>
                      <a:r>
                        <a:rPr lang="es-ES" sz="1600" u="none" strike="noStrike" kern="1200">
                          <a:solidFill>
                            <a:srgbClr val="1A507C"/>
                          </a:solidFill>
                          <a:effectLst/>
                          <a:latin typeface="gobCL"/>
                          <a:ea typeface="+mn-ea"/>
                          <a:cs typeface="+mn-cs"/>
                        </a:rPr>
                        <a:t>C3: Se presentarán para consideración de los gremios, los contenidos de las guías metodológicas de proyectos de teletrabajo así como de las resoluciones emitidas por los jefes de servicio al respecto, y se levantarán temáticas con miras a mejoras en la normativa.</a:t>
                      </a:r>
                    </a:p>
                  </a:txBody>
                  <a:tcPr marL="6350" marR="6350" marT="6350" marB="0" anchor="ctr">
                    <a:lnL w="0">
                      <a:noFill/>
                    </a:lnL>
                    <a:lnR w="0">
                      <a:noFill/>
                    </a:lnR>
                    <a:lnT w="0">
                      <a:noFill/>
                    </a:lnT>
                    <a:lnB w="0">
                      <a:noFill/>
                    </a:lnB>
                    <a:noFill/>
                  </a:tcPr>
                </a:tc>
                <a:tc>
                  <a:txBody>
                    <a:bodyPr/>
                    <a:lstStyle/>
                    <a:p>
                      <a:pPr algn="l" fontAlgn="b"/>
                      <a:endParaRPr lang="es-CL" sz="16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2638319641"/>
                  </a:ext>
                </a:extLst>
              </a:tr>
              <a:tr h="893218">
                <a:tc>
                  <a:txBody>
                    <a:bodyPr/>
                    <a:lstStyle/>
                    <a:p>
                      <a:pPr marL="0" algn="l" rtl="0" eaLnBrk="1" fontAlgn="t" latinLnBrk="0" hangingPunct="1"/>
                      <a:r>
                        <a:rPr lang="es-ES" sz="1600" u="none" strike="noStrike" kern="1200">
                          <a:solidFill>
                            <a:srgbClr val="1A507C"/>
                          </a:solidFill>
                          <a:effectLst/>
                          <a:latin typeface="gobCL"/>
                          <a:ea typeface="+mn-ea"/>
                          <a:cs typeface="+mn-cs"/>
                        </a:rPr>
                        <a:t>C4: A partir de dicha evaluación, la Mesa de Trabajo abordará la discusión de una regulación legal permanente sobre Teletrabajo en el Sector Público.</a:t>
                      </a:r>
                    </a:p>
                  </a:txBody>
                  <a:tcPr marL="6350" marR="6350" marT="6350" marB="0" anchor="ctr">
                    <a:lnL w="0">
                      <a:noFill/>
                    </a:lnL>
                    <a:lnR w="0">
                      <a:noFill/>
                    </a:lnR>
                    <a:lnT w="0">
                      <a:noFill/>
                    </a:lnT>
                    <a:lnB w="0">
                      <a:noFill/>
                    </a:lnB>
                    <a:noFill/>
                  </a:tcPr>
                </a:tc>
                <a:tc>
                  <a:txBody>
                    <a:bodyPr/>
                    <a:lstStyle/>
                    <a:p>
                      <a:pPr algn="l" fontAlgn="b"/>
                      <a:endParaRPr lang="es-CL" sz="16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2714439030"/>
                  </a:ext>
                </a:extLst>
              </a:tr>
            </a:tbl>
          </a:graphicData>
        </a:graphic>
      </p:graphicFrame>
      <p:grpSp>
        <p:nvGrpSpPr>
          <p:cNvPr id="19" name="Grupo 18">
            <a:extLst>
              <a:ext uri="{FF2B5EF4-FFF2-40B4-BE49-F238E27FC236}">
                <a16:creationId xmlns:a16="http://schemas.microsoft.com/office/drawing/2014/main" id="{512FE3F2-F785-3921-C479-9CF46A9ACCFF}"/>
              </a:ext>
            </a:extLst>
          </p:cNvPr>
          <p:cNvGrpSpPr/>
          <p:nvPr/>
        </p:nvGrpSpPr>
        <p:grpSpPr>
          <a:xfrm>
            <a:off x="8486731" y="249597"/>
            <a:ext cx="1613258" cy="830802"/>
            <a:chOff x="9242105" y="249597"/>
            <a:chExt cx="1613258" cy="830802"/>
          </a:xfrm>
        </p:grpSpPr>
        <p:pic>
          <p:nvPicPr>
            <p:cNvPr id="20" name="Gráfico 19" descr="Harvey Balls 100% con relleno sólido">
              <a:extLst>
                <a:ext uri="{FF2B5EF4-FFF2-40B4-BE49-F238E27FC236}">
                  <a16:creationId xmlns:a16="http://schemas.microsoft.com/office/drawing/2014/main" id="{C0694162-2FF4-CD15-70BA-F1936E51FC0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42105" y="533241"/>
              <a:ext cx="250031" cy="250031"/>
            </a:xfrm>
            <a:prstGeom prst="rect">
              <a:avLst/>
            </a:prstGeom>
          </p:spPr>
        </p:pic>
        <p:sp>
          <p:nvSpPr>
            <p:cNvPr id="21" name="CuadroTexto 20">
              <a:extLst>
                <a:ext uri="{FF2B5EF4-FFF2-40B4-BE49-F238E27FC236}">
                  <a16:creationId xmlns:a16="http://schemas.microsoft.com/office/drawing/2014/main" id="{E11A4F48-EA07-DBDA-556D-A099E9CE236D}"/>
                </a:ext>
              </a:extLst>
            </p:cNvPr>
            <p:cNvSpPr txBox="1"/>
            <p:nvPr/>
          </p:nvSpPr>
          <p:spPr>
            <a:xfrm>
              <a:off x="9492136" y="251101"/>
              <a:ext cx="1363227" cy="276999"/>
            </a:xfrm>
            <a:prstGeom prst="rect">
              <a:avLst/>
            </a:prstGeom>
            <a:noFill/>
          </p:spPr>
          <p:txBody>
            <a:bodyPr wrap="square">
              <a:spAutoFit/>
            </a:bodyPr>
            <a:lstStyle/>
            <a:p>
              <a:r>
                <a:rPr lang="es-CL" sz="1200">
                  <a:solidFill>
                    <a:schemeClr val="bg2">
                      <a:lumMod val="25000"/>
                    </a:schemeClr>
                  </a:solidFill>
                  <a:latin typeface="gobCL"/>
                </a:rPr>
                <a:t>Completado</a:t>
              </a:r>
            </a:p>
          </p:txBody>
        </p:sp>
        <p:sp>
          <p:nvSpPr>
            <p:cNvPr id="22" name="CuadroTexto 21">
              <a:extLst>
                <a:ext uri="{FF2B5EF4-FFF2-40B4-BE49-F238E27FC236}">
                  <a16:creationId xmlns:a16="http://schemas.microsoft.com/office/drawing/2014/main" id="{EEE776FA-2D7D-6529-E65D-A964FA2544AD}"/>
                </a:ext>
              </a:extLst>
            </p:cNvPr>
            <p:cNvSpPr txBox="1"/>
            <p:nvPr/>
          </p:nvSpPr>
          <p:spPr>
            <a:xfrm>
              <a:off x="9492136" y="511862"/>
              <a:ext cx="1363227" cy="307777"/>
            </a:xfrm>
            <a:prstGeom prst="rect">
              <a:avLst/>
            </a:prstGeom>
            <a:noFill/>
          </p:spPr>
          <p:txBody>
            <a:bodyPr wrap="square">
              <a:spAutoFit/>
            </a:bodyPr>
            <a:lstStyle/>
            <a:p>
              <a:r>
                <a:rPr lang="es-CL" sz="1200">
                  <a:solidFill>
                    <a:schemeClr val="bg2">
                      <a:lumMod val="25000"/>
                    </a:schemeClr>
                  </a:solidFill>
                  <a:latin typeface="gobCL"/>
                </a:rPr>
                <a:t>En</a:t>
              </a:r>
              <a:r>
                <a:rPr lang="es-CL" sz="1400" b="0" i="0" u="none" strike="noStrike">
                  <a:solidFill>
                    <a:schemeClr val="bg2">
                      <a:lumMod val="25000"/>
                    </a:schemeClr>
                  </a:solidFill>
                  <a:effectLst/>
                  <a:latin typeface="gobCL"/>
                </a:rPr>
                <a:t> </a:t>
              </a:r>
              <a:r>
                <a:rPr lang="es-CL" sz="1200">
                  <a:solidFill>
                    <a:schemeClr val="bg2">
                      <a:lumMod val="25000"/>
                    </a:schemeClr>
                  </a:solidFill>
                  <a:latin typeface="gobCL"/>
                </a:rPr>
                <a:t>proceso</a:t>
              </a:r>
            </a:p>
          </p:txBody>
        </p:sp>
        <p:sp>
          <p:nvSpPr>
            <p:cNvPr id="23" name="CuadroTexto 22">
              <a:extLst>
                <a:ext uri="{FF2B5EF4-FFF2-40B4-BE49-F238E27FC236}">
                  <a16:creationId xmlns:a16="http://schemas.microsoft.com/office/drawing/2014/main" id="{9F84EF97-25ED-4B94-047F-F8864E1F7B81}"/>
                </a:ext>
              </a:extLst>
            </p:cNvPr>
            <p:cNvSpPr txBox="1"/>
            <p:nvPr/>
          </p:nvSpPr>
          <p:spPr>
            <a:xfrm>
              <a:off x="9492136" y="803400"/>
              <a:ext cx="1363227" cy="276999"/>
            </a:xfrm>
            <a:prstGeom prst="rect">
              <a:avLst/>
            </a:prstGeom>
            <a:noFill/>
          </p:spPr>
          <p:txBody>
            <a:bodyPr wrap="square">
              <a:spAutoFit/>
            </a:bodyPr>
            <a:lstStyle/>
            <a:p>
              <a:r>
                <a:rPr lang="es-CL" sz="1200">
                  <a:solidFill>
                    <a:schemeClr val="bg2">
                      <a:lumMod val="25000"/>
                    </a:schemeClr>
                  </a:solidFill>
                  <a:latin typeface="gobCL"/>
                </a:rPr>
                <a:t>Pendiente</a:t>
              </a:r>
            </a:p>
          </p:txBody>
        </p:sp>
        <p:pic>
          <p:nvPicPr>
            <p:cNvPr id="24" name="Gráfico 23" descr="Harvey Balls 100% con relleno sólido">
              <a:extLst>
                <a:ext uri="{FF2B5EF4-FFF2-40B4-BE49-F238E27FC236}">
                  <a16:creationId xmlns:a16="http://schemas.microsoft.com/office/drawing/2014/main" id="{9A476951-C11C-FFDC-F358-6138F9A47C3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42105" y="816885"/>
              <a:ext cx="250031" cy="250031"/>
            </a:xfrm>
            <a:prstGeom prst="rect">
              <a:avLst/>
            </a:prstGeom>
          </p:spPr>
        </p:pic>
        <p:pic>
          <p:nvPicPr>
            <p:cNvPr id="25" name="Gráfico 24" descr="Harvey Balls 100% con relleno sólido">
              <a:extLst>
                <a:ext uri="{FF2B5EF4-FFF2-40B4-BE49-F238E27FC236}">
                  <a16:creationId xmlns:a16="http://schemas.microsoft.com/office/drawing/2014/main" id="{2016EEA6-A89B-1FA6-323D-3CDEABB363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242105" y="249597"/>
              <a:ext cx="250031" cy="250031"/>
            </a:xfrm>
            <a:prstGeom prst="rect">
              <a:avLst/>
            </a:prstGeom>
          </p:spPr>
        </p:pic>
      </p:grpSp>
      <p:pic>
        <p:nvPicPr>
          <p:cNvPr id="26" name="Gráfico 25" descr="Harvey Balls 100% con relleno sólido">
            <a:extLst>
              <a:ext uri="{FF2B5EF4-FFF2-40B4-BE49-F238E27FC236}">
                <a16:creationId xmlns:a16="http://schemas.microsoft.com/office/drawing/2014/main" id="{E0A5C576-FD49-CB18-63D9-45C93AACFF7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404842" y="1908172"/>
            <a:ext cx="351110" cy="351110"/>
          </a:xfrm>
          <a:prstGeom prst="rect">
            <a:avLst/>
          </a:prstGeom>
        </p:spPr>
      </p:pic>
      <p:pic>
        <p:nvPicPr>
          <p:cNvPr id="27" name="Gráfico 26" descr="Harvey Balls 100% con relleno sólido">
            <a:extLst>
              <a:ext uri="{FF2B5EF4-FFF2-40B4-BE49-F238E27FC236}">
                <a16:creationId xmlns:a16="http://schemas.microsoft.com/office/drawing/2014/main" id="{6C268E0B-DCC0-DF50-1DB1-D7806FE1CFC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404842" y="4568614"/>
            <a:ext cx="351110" cy="351110"/>
          </a:xfrm>
          <a:prstGeom prst="rect">
            <a:avLst/>
          </a:prstGeom>
        </p:spPr>
      </p:pic>
      <p:pic>
        <p:nvPicPr>
          <p:cNvPr id="28" name="Gráfico 27" descr="Harvey Balls 100% con relleno sólido">
            <a:extLst>
              <a:ext uri="{FF2B5EF4-FFF2-40B4-BE49-F238E27FC236}">
                <a16:creationId xmlns:a16="http://schemas.microsoft.com/office/drawing/2014/main" id="{828A58F4-3151-F364-004C-8380B0CE5C2F}"/>
              </a:ext>
            </a:extLst>
          </p:cNvPr>
          <p:cNvPicPr>
            <a:picLocks noChangeAspect="1"/>
          </p:cNvPicPr>
          <p:nvPr/>
        </p:nvPicPr>
        <p:blipFill>
          <a:blip r:embed="rId6">
            <a:extLst>
              <a:ext uri="{96DAC541-7B7A-43D3-8B79-37D633B846F1}">
                <asvg:svgBlip xmlns:asvg="http://schemas.microsoft.com/office/drawing/2016/SVG/main" r:embed="rId12"/>
              </a:ext>
            </a:extLst>
          </a:blip>
          <a:stretch>
            <a:fillRect/>
          </a:stretch>
        </p:blipFill>
        <p:spPr>
          <a:xfrm>
            <a:off x="10404842" y="2850841"/>
            <a:ext cx="351110" cy="351110"/>
          </a:xfrm>
          <a:prstGeom prst="rect">
            <a:avLst/>
          </a:prstGeom>
        </p:spPr>
      </p:pic>
      <p:pic>
        <p:nvPicPr>
          <p:cNvPr id="4" name="Gráfico 27" descr="Harvey Balls 100% con relleno sólido">
            <a:extLst>
              <a:ext uri="{FF2B5EF4-FFF2-40B4-BE49-F238E27FC236}">
                <a16:creationId xmlns:a16="http://schemas.microsoft.com/office/drawing/2014/main" id="{E8B2F2E2-6355-F909-297E-1338CDCFC636}"/>
              </a:ext>
            </a:extLst>
          </p:cNvPr>
          <p:cNvPicPr>
            <a:picLocks noChangeAspect="1"/>
          </p:cNvPicPr>
          <p:nvPr/>
        </p:nvPicPr>
        <p:blipFill>
          <a:blip r:embed="rId6">
            <a:extLst>
              <a:ext uri="{96DAC541-7B7A-43D3-8B79-37D633B846F1}">
                <asvg:svgBlip xmlns:asvg="http://schemas.microsoft.com/office/drawing/2016/SVG/main" r:embed="rId12"/>
              </a:ext>
            </a:extLst>
          </a:blip>
          <a:stretch>
            <a:fillRect/>
          </a:stretch>
        </p:blipFill>
        <p:spPr>
          <a:xfrm>
            <a:off x="10404842" y="3645773"/>
            <a:ext cx="351110" cy="351110"/>
          </a:xfrm>
          <a:prstGeom prst="rect">
            <a:avLst/>
          </a:prstGeom>
        </p:spPr>
      </p:pic>
    </p:spTree>
    <p:extLst>
      <p:ext uri="{BB962C8B-B14F-4D97-AF65-F5344CB8AC3E}">
        <p14:creationId xmlns:p14="http://schemas.microsoft.com/office/powerpoint/2010/main" val="17322797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a:extLst>
              <a:ext uri="{FF2B5EF4-FFF2-40B4-BE49-F238E27FC236}">
                <a16:creationId xmlns:a16="http://schemas.microsoft.com/office/drawing/2014/main" id="{79FF9171-4EFA-C7FC-9453-8B12E46DE596}"/>
              </a:ext>
            </a:extLst>
          </p:cNvPr>
          <p:cNvSpPr txBox="1"/>
          <p:nvPr/>
        </p:nvSpPr>
        <p:spPr>
          <a:xfrm>
            <a:off x="571211" y="231065"/>
            <a:ext cx="7551386" cy="707886"/>
          </a:xfrm>
          <a:prstGeom prst="rect">
            <a:avLst/>
          </a:prstGeom>
          <a:noFill/>
        </p:spPr>
        <p:txBody>
          <a:bodyPr wrap="square" rtlCol="0">
            <a:spAutoFit/>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a:ln>
                  <a:noFill/>
                </a:ln>
                <a:solidFill>
                  <a:srgbClr val="1F4E79"/>
                </a:solidFill>
                <a:effectLst/>
                <a:uLnTx/>
                <a:uFillTx/>
                <a:latin typeface="gobCL"/>
                <a:ea typeface="+mn-ea"/>
                <a:cs typeface="+mn-cs"/>
              </a:rPr>
              <a:t>El déficit de cuenta corriente disminuyó de 10% a 3,5% del PIB, mientras que el ahorro nacional ha mantenido su recuperación</a:t>
            </a:r>
          </a:p>
        </p:txBody>
      </p:sp>
      <p:sp>
        <p:nvSpPr>
          <p:cNvPr id="3" name="Rectángulo 2">
            <a:extLst>
              <a:ext uri="{FF2B5EF4-FFF2-40B4-BE49-F238E27FC236}">
                <a16:creationId xmlns:a16="http://schemas.microsoft.com/office/drawing/2014/main" id="{BB36762E-BAF2-776C-29FA-4AD255223907}"/>
              </a:ext>
            </a:extLst>
          </p:cNvPr>
          <p:cNvSpPr/>
          <p:nvPr/>
        </p:nvSpPr>
        <p:spPr>
          <a:xfrm>
            <a:off x="580938" y="6463964"/>
            <a:ext cx="8088901" cy="230832"/>
          </a:xfrm>
          <a:prstGeom prst="rect">
            <a:avLst/>
          </a:prstGeom>
        </p:spPr>
        <p:txBody>
          <a:bodyPr wrap="square">
            <a:spAutoFit/>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L" sz="900" b="1" i="0" u="none" strike="noStrike" kern="1200" cap="none" spc="0" normalizeH="0" baseline="0" noProof="0">
                <a:ln>
                  <a:noFill/>
                </a:ln>
                <a:solidFill>
                  <a:prstClr val="black"/>
                </a:solidFill>
                <a:effectLst/>
                <a:uLnTx/>
                <a:uFillTx/>
                <a:latin typeface="Gobcl" panose="02000603050000020004"/>
                <a:ea typeface="+mn-ea"/>
                <a:cs typeface="+mn-cs"/>
              </a:rPr>
              <a:t>Fuente: </a:t>
            </a:r>
            <a:r>
              <a:rPr kumimoji="0" lang="es-CL" sz="900" b="0" i="0" u="none" strike="noStrike" kern="1200" cap="none" spc="0" normalizeH="0" baseline="0" noProof="0">
                <a:ln>
                  <a:noFill/>
                </a:ln>
                <a:solidFill>
                  <a:prstClr val="black"/>
                </a:solidFill>
                <a:effectLst/>
                <a:uLnTx/>
                <a:uFillTx/>
                <a:latin typeface="gobCL" panose="02000603050000020004"/>
                <a:ea typeface="+mn-ea"/>
                <a:cs typeface="+mn-cs"/>
              </a:rPr>
              <a:t>Banco Central de Chile</a:t>
            </a:r>
            <a:r>
              <a:rPr lang="es-CL" sz="900">
                <a:solidFill>
                  <a:prstClr val="black"/>
                </a:solidFill>
                <a:latin typeface="gobCL" panose="02000603050000020004"/>
              </a:rPr>
              <a:t>.</a:t>
            </a:r>
            <a:endParaRPr kumimoji="0" lang="es-CL" sz="900" b="0" i="0" u="none" strike="noStrike" kern="1200" cap="none" spc="0" normalizeH="0" baseline="0" noProof="0">
              <a:ln>
                <a:noFill/>
              </a:ln>
              <a:solidFill>
                <a:prstClr val="black"/>
              </a:solidFill>
              <a:effectLst/>
              <a:uLnTx/>
              <a:uFillTx/>
              <a:latin typeface="Gobcl" panose="02000603050000020004"/>
              <a:ea typeface="+mn-ea"/>
              <a:cs typeface="+mn-cs"/>
            </a:endParaRPr>
          </a:p>
        </p:txBody>
      </p:sp>
      <p:graphicFrame>
        <p:nvGraphicFramePr>
          <p:cNvPr id="6" name="Gráfico 5">
            <a:extLst>
              <a:ext uri="{FF2B5EF4-FFF2-40B4-BE49-F238E27FC236}">
                <a16:creationId xmlns:a16="http://schemas.microsoft.com/office/drawing/2014/main" id="{FC785AD7-65D1-4D60-8516-47A1C376F009}"/>
              </a:ext>
            </a:extLst>
          </p:cNvPr>
          <p:cNvGraphicFramePr>
            <a:graphicFrameLocks/>
          </p:cNvGraphicFramePr>
          <p:nvPr>
            <p:extLst>
              <p:ext uri="{D42A27DB-BD31-4B8C-83A1-F6EECF244321}">
                <p14:modId xmlns:p14="http://schemas.microsoft.com/office/powerpoint/2010/main" val="132604613"/>
              </p:ext>
            </p:extLst>
          </p:nvPr>
        </p:nvGraphicFramePr>
        <p:xfrm>
          <a:off x="619439" y="1222039"/>
          <a:ext cx="5051787" cy="467999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17 Gráfico">
            <a:extLst>
              <a:ext uri="{FF2B5EF4-FFF2-40B4-BE49-F238E27FC236}">
                <a16:creationId xmlns:a16="http://schemas.microsoft.com/office/drawing/2014/main" id="{CF1F52CD-5B96-462F-8322-B88BBD047842}"/>
              </a:ext>
            </a:extLst>
          </p:cNvPr>
          <p:cNvGraphicFramePr>
            <a:graphicFrameLocks/>
          </p:cNvGraphicFramePr>
          <p:nvPr>
            <p:extLst>
              <p:ext uri="{D42A27DB-BD31-4B8C-83A1-F6EECF244321}">
                <p14:modId xmlns:p14="http://schemas.microsoft.com/office/powerpoint/2010/main" val="1802567583"/>
              </p:ext>
            </p:extLst>
          </p:nvPr>
        </p:nvGraphicFramePr>
        <p:xfrm>
          <a:off x="6004809" y="1234915"/>
          <a:ext cx="5400000" cy="4680000"/>
        </p:xfrm>
        <a:graphic>
          <a:graphicData uri="http://schemas.openxmlformats.org/drawingml/2006/chart">
            <c:chart xmlns:c="http://schemas.openxmlformats.org/drawingml/2006/chart" xmlns:r="http://schemas.openxmlformats.org/officeDocument/2006/relationships" r:id="rId4"/>
          </a:graphicData>
        </a:graphic>
      </p:graphicFrame>
      <p:sp>
        <p:nvSpPr>
          <p:cNvPr id="4" name="Elipse 3">
            <a:extLst>
              <a:ext uri="{FF2B5EF4-FFF2-40B4-BE49-F238E27FC236}">
                <a16:creationId xmlns:a16="http://schemas.microsoft.com/office/drawing/2014/main" id="{8044F34B-AB66-594F-EB25-75463311869C}"/>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 name="Marcador de número de diapositiva 2">
            <a:extLst>
              <a:ext uri="{FF2B5EF4-FFF2-40B4-BE49-F238E27FC236}">
                <a16:creationId xmlns:a16="http://schemas.microsoft.com/office/drawing/2014/main" id="{E86A1851-2E52-4790-BDC8-A1046157348A}"/>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5</a:t>
            </a:fld>
            <a:endParaRPr lang="en-US" b="1">
              <a:solidFill>
                <a:schemeClr val="bg1"/>
              </a:solidFill>
              <a:latin typeface="Calibri"/>
              <a:ea typeface="ヒラギノ角ゴ Pro W3"/>
              <a:cs typeface="Calibri"/>
            </a:endParaRPr>
          </a:p>
        </p:txBody>
      </p:sp>
    </p:spTree>
    <p:extLst>
      <p:ext uri="{BB962C8B-B14F-4D97-AF65-F5344CB8AC3E}">
        <p14:creationId xmlns:p14="http://schemas.microsoft.com/office/powerpoint/2010/main" val="351178994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66AE1B3-A580-482F-9F24-45B1B9245A2F}"/>
              </a:ext>
            </a:extLst>
          </p:cNvPr>
          <p:cNvSpPr>
            <a:spLocks noGrp="1"/>
          </p:cNvSpPr>
          <p:nvPr>
            <p:ph type="title"/>
          </p:nvPr>
        </p:nvSpPr>
        <p:spPr>
          <a:xfrm>
            <a:off x="574934" y="296874"/>
            <a:ext cx="10515600" cy="639586"/>
          </a:xfrm>
        </p:spPr>
        <p:txBody>
          <a:bodyPr>
            <a:normAutofit/>
          </a:bodyPr>
          <a:lstStyle/>
          <a:p>
            <a:r>
              <a:rPr lang="es-ES" sz="2800" b="1">
                <a:solidFill>
                  <a:srgbClr val="1A507C"/>
                </a:solidFill>
                <a:latin typeface="gobCL"/>
                <a:ea typeface="+mn-ea"/>
                <a:cs typeface="+mn-cs"/>
              </a:rPr>
              <a:t>Mesas Transversales</a:t>
            </a:r>
            <a:endParaRPr lang="es-CL" sz="2800" b="1">
              <a:solidFill>
                <a:srgbClr val="1A507C"/>
              </a:solidFill>
              <a:latin typeface="gobCL"/>
              <a:ea typeface="+mn-ea"/>
              <a:cs typeface="+mn-cs"/>
            </a:endParaRPr>
          </a:p>
        </p:txBody>
      </p:sp>
      <p:sp>
        <p:nvSpPr>
          <p:cNvPr id="5" name="Elipse 4">
            <a:extLst>
              <a:ext uri="{FF2B5EF4-FFF2-40B4-BE49-F238E27FC236}">
                <a16:creationId xmlns:a16="http://schemas.microsoft.com/office/drawing/2014/main" id="{C75B7C43-8DF4-4FF8-CDAA-78D79794023C}"/>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 name="Marcador de número de diapositiva 2">
            <a:extLst>
              <a:ext uri="{FF2B5EF4-FFF2-40B4-BE49-F238E27FC236}">
                <a16:creationId xmlns:a16="http://schemas.microsoft.com/office/drawing/2014/main" id="{EFE71632-71DE-2A54-64EA-E99EEEC99809}"/>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50</a:t>
            </a:fld>
            <a:endParaRPr lang="en-US" b="1">
              <a:solidFill>
                <a:schemeClr val="bg1"/>
              </a:solidFill>
              <a:latin typeface="Calibri"/>
              <a:ea typeface="ヒラギノ角ゴ Pro W3"/>
              <a:cs typeface="Calibri"/>
            </a:endParaRPr>
          </a:p>
        </p:txBody>
      </p:sp>
      <p:graphicFrame>
        <p:nvGraphicFramePr>
          <p:cNvPr id="3" name="Tabla 2">
            <a:extLst>
              <a:ext uri="{FF2B5EF4-FFF2-40B4-BE49-F238E27FC236}">
                <a16:creationId xmlns:a16="http://schemas.microsoft.com/office/drawing/2014/main" id="{9220FDDA-5187-89D4-426E-54589DFC76B5}"/>
              </a:ext>
            </a:extLst>
          </p:cNvPr>
          <p:cNvGraphicFramePr>
            <a:graphicFrameLocks noGrp="1"/>
          </p:cNvGraphicFramePr>
          <p:nvPr>
            <p:extLst>
              <p:ext uri="{D42A27DB-BD31-4B8C-83A1-F6EECF244321}">
                <p14:modId xmlns:p14="http://schemas.microsoft.com/office/powerpoint/2010/main" val="1360403712"/>
              </p:ext>
            </p:extLst>
          </p:nvPr>
        </p:nvGraphicFramePr>
        <p:xfrm>
          <a:off x="601930" y="1379922"/>
          <a:ext cx="10298442" cy="2896253"/>
        </p:xfrm>
        <a:graphic>
          <a:graphicData uri="http://schemas.openxmlformats.org/drawingml/2006/table">
            <a:tbl>
              <a:tblPr firstRow="1" bandRow="1">
                <a:tableStyleId>{B301B821-A1FF-4177-AEE7-76D212191A09}</a:tableStyleId>
              </a:tblPr>
              <a:tblGrid>
                <a:gridCol w="9601878">
                  <a:extLst>
                    <a:ext uri="{9D8B030D-6E8A-4147-A177-3AD203B41FA5}">
                      <a16:colId xmlns:a16="http://schemas.microsoft.com/office/drawing/2014/main" val="265563881"/>
                    </a:ext>
                  </a:extLst>
                </a:gridCol>
                <a:gridCol w="696564">
                  <a:extLst>
                    <a:ext uri="{9D8B030D-6E8A-4147-A177-3AD203B41FA5}">
                      <a16:colId xmlns:a16="http://schemas.microsoft.com/office/drawing/2014/main" val="701581697"/>
                    </a:ext>
                  </a:extLst>
                </a:gridCol>
              </a:tblGrid>
              <a:tr h="340235">
                <a:tc>
                  <a:txBody>
                    <a:bodyPr/>
                    <a:lstStyle/>
                    <a:p>
                      <a:pPr algn="ctr" fontAlgn="b"/>
                      <a:r>
                        <a:rPr lang="es-CL" sz="2000" u="none" strike="noStrike">
                          <a:effectLst/>
                          <a:latin typeface="gobCL"/>
                        </a:rPr>
                        <a:t>EQUIDAD DE GÉNERO (4)</a:t>
                      </a:r>
                    </a:p>
                  </a:txBody>
                  <a:tcPr marL="8601" marR="8601" marT="8601" marB="0" anchor="ctr">
                    <a:lnL w="0">
                      <a:noFill/>
                    </a:lnL>
                    <a:lnR w="0">
                      <a:noFill/>
                    </a:lnR>
                    <a:lnT w="0">
                      <a:noFill/>
                    </a:lnT>
                    <a:lnB w="0">
                      <a:noFill/>
                    </a:lnB>
                    <a:solidFill>
                      <a:srgbClr val="004677"/>
                    </a:solidFill>
                  </a:tcPr>
                </a:tc>
                <a:tc>
                  <a:txBody>
                    <a:bodyPr/>
                    <a:lstStyle/>
                    <a:p>
                      <a:pPr algn="ctr" fontAlgn="b"/>
                      <a:endParaRPr lang="es-CL" sz="1400" u="none" strike="noStrike">
                        <a:effectLst/>
                        <a:latin typeface="gobCL" pitchFamily="50" charset="0"/>
                      </a:endParaRPr>
                    </a:p>
                  </a:txBody>
                  <a:tcPr marL="8601" marR="8601" marT="8601" marB="0" anchor="ctr">
                    <a:lnL w="0">
                      <a:noFill/>
                    </a:lnL>
                    <a:lnR w="0">
                      <a:noFill/>
                    </a:lnR>
                    <a:lnT w="0">
                      <a:noFill/>
                    </a:lnT>
                    <a:lnB w="0">
                      <a:noFill/>
                    </a:lnB>
                    <a:solidFill>
                      <a:srgbClr val="004677"/>
                    </a:solidFill>
                  </a:tcPr>
                </a:tc>
                <a:extLst>
                  <a:ext uri="{0D108BD9-81ED-4DB2-BD59-A6C34878D82A}">
                    <a16:rowId xmlns:a16="http://schemas.microsoft.com/office/drawing/2014/main" val="421966448"/>
                  </a:ext>
                </a:extLst>
              </a:tr>
              <a:tr h="425514">
                <a:tc>
                  <a:txBody>
                    <a:bodyPr/>
                    <a:lstStyle/>
                    <a:p>
                      <a:pPr marL="0" algn="l" rtl="0" eaLnBrk="1" fontAlgn="t" latinLnBrk="0" hangingPunct="1"/>
                      <a:r>
                        <a:rPr lang="es-ES" sz="1600" u="none" strike="noStrike" kern="1200">
                          <a:solidFill>
                            <a:srgbClr val="1A507C"/>
                          </a:solidFill>
                          <a:effectLst/>
                          <a:latin typeface="gobCL"/>
                          <a:ea typeface="+mn-ea"/>
                          <a:cs typeface="+mn-cs"/>
                        </a:rPr>
                        <a:t>C1: Actualizar los datos y diagnóstico de la brecha salarial de género en el Estado.</a:t>
                      </a:r>
                    </a:p>
                  </a:txBody>
                  <a:tcPr marL="6350" marR="6350" marT="6350" marB="0" anchor="ctr">
                    <a:lnL w="0">
                      <a:noFill/>
                    </a:lnL>
                    <a:lnR w="0">
                      <a:noFill/>
                    </a:lnR>
                    <a:lnT w="0">
                      <a:noFill/>
                    </a:lnT>
                    <a:lnB w="0">
                      <a:noFill/>
                    </a:lnB>
                    <a:noFill/>
                  </a:tcPr>
                </a:tc>
                <a:tc>
                  <a:txBody>
                    <a:bodyPr/>
                    <a:lstStyle/>
                    <a:p>
                      <a:pPr algn="l" fontAlgn="b"/>
                      <a:endParaRPr lang="es-CL" sz="16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3642547395"/>
                  </a:ext>
                </a:extLst>
              </a:tr>
              <a:tr h="899745">
                <a:tc>
                  <a:txBody>
                    <a:bodyPr/>
                    <a:lstStyle/>
                    <a:p>
                      <a:pPr marL="0" algn="l" rtl="0" eaLnBrk="1" fontAlgn="t" latinLnBrk="0" hangingPunct="1"/>
                      <a:r>
                        <a:rPr lang="es-ES" sz="1600" u="none" strike="noStrike" kern="1200">
                          <a:solidFill>
                            <a:srgbClr val="1A507C"/>
                          </a:solidFill>
                          <a:effectLst/>
                          <a:latin typeface="gobCL"/>
                          <a:ea typeface="+mn-ea"/>
                          <a:cs typeface="+mn-cs"/>
                        </a:rPr>
                        <a:t>C2: Implementar experiencias piloto en tres instituciones públicas que apliquen la metodología de evaluación de puestos de trabajo con perspectiva de género durante el año 2023. Se evaluará la ampliación de los pilotos para los años 2024 y 2025.</a:t>
                      </a:r>
                    </a:p>
                  </a:txBody>
                  <a:tcPr marL="6350" marR="6350" marT="6350" marB="0" anchor="ctr">
                    <a:lnL w="0">
                      <a:noFill/>
                    </a:lnL>
                    <a:lnR w="0">
                      <a:noFill/>
                    </a:lnR>
                    <a:lnT w="0">
                      <a:noFill/>
                    </a:lnT>
                    <a:lnB w="0">
                      <a:noFill/>
                    </a:lnB>
                    <a:noFill/>
                  </a:tcPr>
                </a:tc>
                <a:tc>
                  <a:txBody>
                    <a:bodyPr/>
                    <a:lstStyle/>
                    <a:p>
                      <a:pPr algn="l" fontAlgn="b"/>
                      <a:endParaRPr lang="es-CL" sz="16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579461283"/>
                  </a:ext>
                </a:extLst>
              </a:tr>
              <a:tr h="697117">
                <a:tc>
                  <a:txBody>
                    <a:bodyPr/>
                    <a:lstStyle/>
                    <a:p>
                      <a:pPr marL="0" algn="l" defTabSz="914400" rtl="0" eaLnBrk="1" fontAlgn="t" latinLnBrk="0" hangingPunct="1"/>
                      <a:r>
                        <a:rPr lang="es-ES" sz="1600" u="none" strike="noStrike" kern="1200">
                          <a:solidFill>
                            <a:srgbClr val="1A507C"/>
                          </a:solidFill>
                          <a:effectLst/>
                          <a:latin typeface="gobCL"/>
                          <a:ea typeface="+mn-ea"/>
                          <a:cs typeface="+mn-cs"/>
                        </a:rPr>
                        <a:t>C3:Implementar, difundir y desarrollar acciones relativas a la suscripción del Convenio N° 190, en las materias que le sean pertinentes (2023 – 2026).</a:t>
                      </a:r>
                    </a:p>
                  </a:txBody>
                  <a:tcPr marL="6350" marR="6350" marT="6350" marB="0" anchor="ctr">
                    <a:lnL w="0">
                      <a:noFill/>
                    </a:lnL>
                    <a:lnR w="0">
                      <a:noFill/>
                    </a:lnR>
                    <a:lnT w="0">
                      <a:noFill/>
                    </a:lnT>
                    <a:lnB w="0">
                      <a:noFill/>
                    </a:lnB>
                    <a:noFill/>
                  </a:tcPr>
                </a:tc>
                <a:tc>
                  <a:txBody>
                    <a:bodyPr/>
                    <a:lstStyle/>
                    <a:p>
                      <a:pPr algn="l" fontAlgn="b"/>
                      <a:endParaRPr lang="es-CL" sz="16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2431298422"/>
                  </a:ext>
                </a:extLst>
              </a:tr>
              <a:tr h="533642">
                <a:tc>
                  <a:txBody>
                    <a:bodyPr/>
                    <a:lstStyle/>
                    <a:p>
                      <a:pPr marL="0" algn="l" rtl="0" eaLnBrk="1" fontAlgn="t" latinLnBrk="0" hangingPunct="1"/>
                      <a:r>
                        <a:rPr lang="es-ES" sz="1600" u="none" strike="noStrike" kern="1200">
                          <a:solidFill>
                            <a:srgbClr val="1A507C"/>
                          </a:solidFill>
                          <a:effectLst/>
                          <a:latin typeface="gobCL"/>
                          <a:ea typeface="+mn-ea"/>
                          <a:cs typeface="+mn-cs"/>
                        </a:rPr>
                        <a:t>C4: El gobierno y la MSP concuerdan en la necesidad de transversalizar la mirada de género en cada una de las mesas acordadas.</a:t>
                      </a:r>
                    </a:p>
                  </a:txBody>
                  <a:tcPr marL="6350" marR="6350" marT="6350" marB="0" anchor="ctr">
                    <a:lnL w="0">
                      <a:noFill/>
                    </a:lnL>
                    <a:lnR w="0">
                      <a:noFill/>
                    </a:lnR>
                    <a:lnT w="0">
                      <a:noFill/>
                    </a:lnT>
                    <a:lnB w="0">
                      <a:noFill/>
                    </a:lnB>
                    <a:noFill/>
                  </a:tcPr>
                </a:tc>
                <a:tc>
                  <a:txBody>
                    <a:bodyPr/>
                    <a:lstStyle/>
                    <a:p>
                      <a:pPr algn="l" fontAlgn="b"/>
                      <a:endParaRPr lang="es-CL" sz="16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2638319641"/>
                  </a:ext>
                </a:extLst>
              </a:tr>
            </a:tbl>
          </a:graphicData>
        </a:graphic>
      </p:graphicFrame>
      <p:grpSp>
        <p:nvGrpSpPr>
          <p:cNvPr id="19" name="Grupo 18">
            <a:extLst>
              <a:ext uri="{FF2B5EF4-FFF2-40B4-BE49-F238E27FC236}">
                <a16:creationId xmlns:a16="http://schemas.microsoft.com/office/drawing/2014/main" id="{512FE3F2-F785-3921-C479-9CF46A9ACCFF}"/>
              </a:ext>
            </a:extLst>
          </p:cNvPr>
          <p:cNvGrpSpPr/>
          <p:nvPr/>
        </p:nvGrpSpPr>
        <p:grpSpPr>
          <a:xfrm>
            <a:off x="8486731" y="249597"/>
            <a:ext cx="1613258" cy="830802"/>
            <a:chOff x="9242105" y="249597"/>
            <a:chExt cx="1613258" cy="830802"/>
          </a:xfrm>
        </p:grpSpPr>
        <p:pic>
          <p:nvPicPr>
            <p:cNvPr id="20" name="Gráfico 19" descr="Harvey Balls 100% con relleno sólido">
              <a:extLst>
                <a:ext uri="{FF2B5EF4-FFF2-40B4-BE49-F238E27FC236}">
                  <a16:creationId xmlns:a16="http://schemas.microsoft.com/office/drawing/2014/main" id="{C0694162-2FF4-CD15-70BA-F1936E51FC0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42105" y="533241"/>
              <a:ext cx="250031" cy="250031"/>
            </a:xfrm>
            <a:prstGeom prst="rect">
              <a:avLst/>
            </a:prstGeom>
          </p:spPr>
        </p:pic>
        <p:sp>
          <p:nvSpPr>
            <p:cNvPr id="21" name="CuadroTexto 20">
              <a:extLst>
                <a:ext uri="{FF2B5EF4-FFF2-40B4-BE49-F238E27FC236}">
                  <a16:creationId xmlns:a16="http://schemas.microsoft.com/office/drawing/2014/main" id="{E11A4F48-EA07-DBDA-556D-A099E9CE236D}"/>
                </a:ext>
              </a:extLst>
            </p:cNvPr>
            <p:cNvSpPr txBox="1"/>
            <p:nvPr/>
          </p:nvSpPr>
          <p:spPr>
            <a:xfrm>
              <a:off x="9492136" y="251101"/>
              <a:ext cx="1363227" cy="276999"/>
            </a:xfrm>
            <a:prstGeom prst="rect">
              <a:avLst/>
            </a:prstGeom>
            <a:noFill/>
          </p:spPr>
          <p:txBody>
            <a:bodyPr wrap="square">
              <a:spAutoFit/>
            </a:bodyPr>
            <a:lstStyle/>
            <a:p>
              <a:r>
                <a:rPr lang="es-CL" sz="1200">
                  <a:solidFill>
                    <a:schemeClr val="bg2">
                      <a:lumMod val="25000"/>
                    </a:schemeClr>
                  </a:solidFill>
                  <a:latin typeface="gobCL"/>
                </a:rPr>
                <a:t>Completado</a:t>
              </a:r>
            </a:p>
          </p:txBody>
        </p:sp>
        <p:sp>
          <p:nvSpPr>
            <p:cNvPr id="22" name="CuadroTexto 21">
              <a:extLst>
                <a:ext uri="{FF2B5EF4-FFF2-40B4-BE49-F238E27FC236}">
                  <a16:creationId xmlns:a16="http://schemas.microsoft.com/office/drawing/2014/main" id="{EEE776FA-2D7D-6529-E65D-A964FA2544AD}"/>
                </a:ext>
              </a:extLst>
            </p:cNvPr>
            <p:cNvSpPr txBox="1"/>
            <p:nvPr/>
          </p:nvSpPr>
          <p:spPr>
            <a:xfrm>
              <a:off x="9492136" y="511862"/>
              <a:ext cx="1363227" cy="307777"/>
            </a:xfrm>
            <a:prstGeom prst="rect">
              <a:avLst/>
            </a:prstGeom>
            <a:noFill/>
          </p:spPr>
          <p:txBody>
            <a:bodyPr wrap="square">
              <a:spAutoFit/>
            </a:bodyPr>
            <a:lstStyle/>
            <a:p>
              <a:r>
                <a:rPr lang="es-CL" sz="1200">
                  <a:solidFill>
                    <a:schemeClr val="bg2">
                      <a:lumMod val="25000"/>
                    </a:schemeClr>
                  </a:solidFill>
                  <a:latin typeface="gobCL"/>
                </a:rPr>
                <a:t>En</a:t>
              </a:r>
              <a:r>
                <a:rPr lang="es-CL" sz="1400" b="0" i="0" u="none" strike="noStrike">
                  <a:solidFill>
                    <a:schemeClr val="bg2">
                      <a:lumMod val="25000"/>
                    </a:schemeClr>
                  </a:solidFill>
                  <a:effectLst/>
                  <a:latin typeface="gobCL"/>
                </a:rPr>
                <a:t> </a:t>
              </a:r>
              <a:r>
                <a:rPr lang="es-CL" sz="1200">
                  <a:solidFill>
                    <a:schemeClr val="bg2">
                      <a:lumMod val="25000"/>
                    </a:schemeClr>
                  </a:solidFill>
                  <a:latin typeface="gobCL"/>
                </a:rPr>
                <a:t>proceso</a:t>
              </a:r>
            </a:p>
          </p:txBody>
        </p:sp>
        <p:sp>
          <p:nvSpPr>
            <p:cNvPr id="23" name="CuadroTexto 22">
              <a:extLst>
                <a:ext uri="{FF2B5EF4-FFF2-40B4-BE49-F238E27FC236}">
                  <a16:creationId xmlns:a16="http://schemas.microsoft.com/office/drawing/2014/main" id="{9F84EF97-25ED-4B94-047F-F8864E1F7B81}"/>
                </a:ext>
              </a:extLst>
            </p:cNvPr>
            <p:cNvSpPr txBox="1"/>
            <p:nvPr/>
          </p:nvSpPr>
          <p:spPr>
            <a:xfrm>
              <a:off x="9492136" y="803400"/>
              <a:ext cx="1363227" cy="276999"/>
            </a:xfrm>
            <a:prstGeom prst="rect">
              <a:avLst/>
            </a:prstGeom>
            <a:noFill/>
          </p:spPr>
          <p:txBody>
            <a:bodyPr wrap="square">
              <a:spAutoFit/>
            </a:bodyPr>
            <a:lstStyle/>
            <a:p>
              <a:r>
                <a:rPr lang="es-CL" sz="1200">
                  <a:solidFill>
                    <a:schemeClr val="bg2">
                      <a:lumMod val="25000"/>
                    </a:schemeClr>
                  </a:solidFill>
                  <a:latin typeface="gobCL"/>
                </a:rPr>
                <a:t>Pendiente</a:t>
              </a:r>
            </a:p>
          </p:txBody>
        </p:sp>
        <p:pic>
          <p:nvPicPr>
            <p:cNvPr id="24" name="Gráfico 23" descr="Harvey Balls 100% con relleno sólido">
              <a:extLst>
                <a:ext uri="{FF2B5EF4-FFF2-40B4-BE49-F238E27FC236}">
                  <a16:creationId xmlns:a16="http://schemas.microsoft.com/office/drawing/2014/main" id="{9A476951-C11C-FFDC-F358-6138F9A47C3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42105" y="816885"/>
              <a:ext cx="250031" cy="250031"/>
            </a:xfrm>
            <a:prstGeom prst="rect">
              <a:avLst/>
            </a:prstGeom>
          </p:spPr>
        </p:pic>
        <p:pic>
          <p:nvPicPr>
            <p:cNvPr id="25" name="Gráfico 24" descr="Harvey Balls 100% con relleno sólido">
              <a:extLst>
                <a:ext uri="{FF2B5EF4-FFF2-40B4-BE49-F238E27FC236}">
                  <a16:creationId xmlns:a16="http://schemas.microsoft.com/office/drawing/2014/main" id="{2016EEA6-A89B-1FA6-323D-3CDEABB363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242105" y="249597"/>
              <a:ext cx="250031" cy="250031"/>
            </a:xfrm>
            <a:prstGeom prst="rect">
              <a:avLst/>
            </a:prstGeom>
          </p:spPr>
        </p:pic>
      </p:grpSp>
      <p:pic>
        <p:nvPicPr>
          <p:cNvPr id="26" name="Gráfico 25" descr="Harvey Balls 100% con relleno sólido">
            <a:extLst>
              <a:ext uri="{FF2B5EF4-FFF2-40B4-BE49-F238E27FC236}">
                <a16:creationId xmlns:a16="http://schemas.microsoft.com/office/drawing/2014/main" id="{E0A5C576-FD49-CB18-63D9-45C93AACFF7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376968" y="1783161"/>
            <a:ext cx="351110" cy="351110"/>
          </a:xfrm>
          <a:prstGeom prst="rect">
            <a:avLst/>
          </a:prstGeom>
        </p:spPr>
      </p:pic>
      <p:pic>
        <p:nvPicPr>
          <p:cNvPr id="27" name="Gráfico 26" descr="Harvey Balls 100% con relleno sólido">
            <a:extLst>
              <a:ext uri="{FF2B5EF4-FFF2-40B4-BE49-F238E27FC236}">
                <a16:creationId xmlns:a16="http://schemas.microsoft.com/office/drawing/2014/main" id="{6C268E0B-DCC0-DF50-1DB1-D7806FE1CFC4}"/>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376968" y="2296509"/>
            <a:ext cx="351110" cy="351110"/>
          </a:xfrm>
          <a:prstGeom prst="rect">
            <a:avLst/>
          </a:prstGeom>
        </p:spPr>
      </p:pic>
      <p:pic>
        <p:nvPicPr>
          <p:cNvPr id="4" name="Gráfico 26" descr="Harvey Balls 100% con relleno sólido">
            <a:extLst>
              <a:ext uri="{FF2B5EF4-FFF2-40B4-BE49-F238E27FC236}">
                <a16:creationId xmlns:a16="http://schemas.microsoft.com/office/drawing/2014/main" id="{523F35B7-2B7C-0A30-1592-969496D4F3DC}"/>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376968" y="3160974"/>
            <a:ext cx="351110" cy="351110"/>
          </a:xfrm>
          <a:prstGeom prst="rect">
            <a:avLst/>
          </a:prstGeom>
        </p:spPr>
      </p:pic>
      <p:pic>
        <p:nvPicPr>
          <p:cNvPr id="7" name="Gráfico 26" descr="Harvey Balls 100% con relleno sólido">
            <a:extLst>
              <a:ext uri="{FF2B5EF4-FFF2-40B4-BE49-F238E27FC236}">
                <a16:creationId xmlns:a16="http://schemas.microsoft.com/office/drawing/2014/main" id="{7BD6ABFB-9F69-52F3-43FD-B518C78015C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0376968" y="3767327"/>
            <a:ext cx="351110" cy="351110"/>
          </a:xfrm>
          <a:prstGeom prst="rect">
            <a:avLst/>
          </a:prstGeom>
        </p:spPr>
      </p:pic>
    </p:spTree>
    <p:extLst>
      <p:ext uri="{BB962C8B-B14F-4D97-AF65-F5344CB8AC3E}">
        <p14:creationId xmlns:p14="http://schemas.microsoft.com/office/powerpoint/2010/main" val="276414993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66AE1B3-A580-482F-9F24-45B1B9245A2F}"/>
              </a:ext>
            </a:extLst>
          </p:cNvPr>
          <p:cNvSpPr>
            <a:spLocks noGrp="1"/>
          </p:cNvSpPr>
          <p:nvPr>
            <p:ph type="title"/>
          </p:nvPr>
        </p:nvSpPr>
        <p:spPr>
          <a:xfrm>
            <a:off x="574934" y="314981"/>
            <a:ext cx="10515600" cy="639586"/>
          </a:xfrm>
        </p:spPr>
        <p:txBody>
          <a:bodyPr>
            <a:normAutofit/>
          </a:bodyPr>
          <a:lstStyle/>
          <a:p>
            <a:r>
              <a:rPr lang="es-ES" sz="2800" b="1">
                <a:solidFill>
                  <a:srgbClr val="1A507C"/>
                </a:solidFill>
                <a:latin typeface="gobCL"/>
                <a:ea typeface="+mn-ea"/>
                <a:cs typeface="+mn-cs"/>
              </a:rPr>
              <a:t>Mesas Transversales</a:t>
            </a:r>
            <a:endParaRPr lang="es-CL" sz="2800" b="1">
              <a:solidFill>
                <a:srgbClr val="1A507C"/>
              </a:solidFill>
              <a:latin typeface="gobCL"/>
              <a:ea typeface="+mn-ea"/>
              <a:cs typeface="+mn-cs"/>
            </a:endParaRPr>
          </a:p>
        </p:txBody>
      </p:sp>
      <p:sp>
        <p:nvSpPr>
          <p:cNvPr id="5" name="Elipse 4">
            <a:extLst>
              <a:ext uri="{FF2B5EF4-FFF2-40B4-BE49-F238E27FC236}">
                <a16:creationId xmlns:a16="http://schemas.microsoft.com/office/drawing/2014/main" id="{C75B7C43-8DF4-4FF8-CDAA-78D79794023C}"/>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 name="Marcador de número de diapositiva 2">
            <a:extLst>
              <a:ext uri="{FF2B5EF4-FFF2-40B4-BE49-F238E27FC236}">
                <a16:creationId xmlns:a16="http://schemas.microsoft.com/office/drawing/2014/main" id="{EFE71632-71DE-2A54-64EA-E99EEEC99809}"/>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51</a:t>
            </a:fld>
            <a:endParaRPr lang="en-US" b="1">
              <a:solidFill>
                <a:schemeClr val="bg1"/>
              </a:solidFill>
              <a:latin typeface="Calibri"/>
              <a:ea typeface="ヒラギノ角ゴ Pro W3"/>
              <a:cs typeface="Calibri"/>
            </a:endParaRPr>
          </a:p>
        </p:txBody>
      </p:sp>
      <p:graphicFrame>
        <p:nvGraphicFramePr>
          <p:cNvPr id="3" name="Tabla 2">
            <a:extLst>
              <a:ext uri="{FF2B5EF4-FFF2-40B4-BE49-F238E27FC236}">
                <a16:creationId xmlns:a16="http://schemas.microsoft.com/office/drawing/2014/main" id="{9220FDDA-5187-89D4-426E-54589DFC76B5}"/>
              </a:ext>
            </a:extLst>
          </p:cNvPr>
          <p:cNvGraphicFramePr>
            <a:graphicFrameLocks noGrp="1"/>
          </p:cNvGraphicFramePr>
          <p:nvPr>
            <p:extLst>
              <p:ext uri="{D42A27DB-BD31-4B8C-83A1-F6EECF244321}">
                <p14:modId xmlns:p14="http://schemas.microsoft.com/office/powerpoint/2010/main" val="2424783197"/>
              </p:ext>
            </p:extLst>
          </p:nvPr>
        </p:nvGraphicFramePr>
        <p:xfrm>
          <a:off x="612115" y="1390775"/>
          <a:ext cx="10297312" cy="3708227"/>
        </p:xfrm>
        <a:graphic>
          <a:graphicData uri="http://schemas.openxmlformats.org/drawingml/2006/table">
            <a:tbl>
              <a:tblPr firstRow="1" bandRow="1">
                <a:tableStyleId>{B301B821-A1FF-4177-AEE7-76D212191A09}</a:tableStyleId>
              </a:tblPr>
              <a:tblGrid>
                <a:gridCol w="9602799">
                  <a:extLst>
                    <a:ext uri="{9D8B030D-6E8A-4147-A177-3AD203B41FA5}">
                      <a16:colId xmlns:a16="http://schemas.microsoft.com/office/drawing/2014/main" val="265563881"/>
                    </a:ext>
                  </a:extLst>
                </a:gridCol>
                <a:gridCol w="694513">
                  <a:extLst>
                    <a:ext uri="{9D8B030D-6E8A-4147-A177-3AD203B41FA5}">
                      <a16:colId xmlns:a16="http://schemas.microsoft.com/office/drawing/2014/main" val="701581697"/>
                    </a:ext>
                  </a:extLst>
                </a:gridCol>
              </a:tblGrid>
              <a:tr h="374650">
                <a:tc>
                  <a:txBody>
                    <a:bodyPr/>
                    <a:lstStyle/>
                    <a:p>
                      <a:pPr algn="ctr" fontAlgn="b"/>
                      <a:r>
                        <a:rPr lang="es-CL" sz="2000" u="none" strike="noStrike">
                          <a:effectLst/>
                          <a:latin typeface="gobCL"/>
                        </a:rPr>
                        <a:t>TRABAJO DECENTE</a:t>
                      </a:r>
                    </a:p>
                  </a:txBody>
                  <a:tcPr marL="8601" marR="8601" marT="8601" marB="0" anchor="ctr">
                    <a:lnL w="0">
                      <a:noFill/>
                    </a:lnL>
                    <a:lnR w="0">
                      <a:noFill/>
                    </a:lnR>
                    <a:lnT w="0">
                      <a:noFill/>
                    </a:lnT>
                    <a:lnB w="0">
                      <a:noFill/>
                    </a:lnB>
                    <a:solidFill>
                      <a:srgbClr val="004677"/>
                    </a:solidFill>
                  </a:tcPr>
                </a:tc>
                <a:tc>
                  <a:txBody>
                    <a:bodyPr/>
                    <a:lstStyle/>
                    <a:p>
                      <a:pPr algn="ctr" fontAlgn="b"/>
                      <a:endParaRPr lang="es-CL" sz="1400" u="none" strike="noStrike">
                        <a:effectLst/>
                        <a:latin typeface="gobCL" pitchFamily="50" charset="0"/>
                      </a:endParaRPr>
                    </a:p>
                  </a:txBody>
                  <a:tcPr marL="8601" marR="8601" marT="8601" marB="0" anchor="ctr">
                    <a:lnL w="0">
                      <a:noFill/>
                    </a:lnL>
                    <a:lnR w="0">
                      <a:noFill/>
                    </a:lnR>
                    <a:lnT w="0">
                      <a:noFill/>
                    </a:lnT>
                    <a:lnB w="0">
                      <a:noFill/>
                    </a:lnB>
                    <a:solidFill>
                      <a:srgbClr val="004677"/>
                    </a:solidFill>
                  </a:tcPr>
                </a:tc>
                <a:extLst>
                  <a:ext uri="{0D108BD9-81ED-4DB2-BD59-A6C34878D82A}">
                    <a16:rowId xmlns:a16="http://schemas.microsoft.com/office/drawing/2014/main" val="421966448"/>
                  </a:ext>
                </a:extLst>
              </a:tr>
              <a:tr h="684822">
                <a:tc>
                  <a:txBody>
                    <a:bodyPr/>
                    <a:lstStyle/>
                    <a:p>
                      <a:pPr marL="0" algn="l" defTabSz="914400" rtl="0" eaLnBrk="1" fontAlgn="b" latinLnBrk="0" hangingPunct="1"/>
                      <a:r>
                        <a:rPr lang="es-ES" sz="1600" u="none" strike="noStrike" kern="1200">
                          <a:solidFill>
                            <a:srgbClr val="1A507C"/>
                          </a:solidFill>
                          <a:effectLst/>
                          <a:latin typeface="gobCL"/>
                          <a:ea typeface="+mn-ea"/>
                          <a:cs typeface="+mn-cs"/>
                        </a:rPr>
                        <a:t>C1:Evaluar la normativa y legislación vigente, para proyectar las reformas necesarias para la implementación del Convenio N°190 de la OIT</a:t>
                      </a:r>
                    </a:p>
                  </a:txBody>
                  <a:tcPr marL="6350" marR="6350" marT="6350" marB="0" anchor="ctr">
                    <a:lnL w="0">
                      <a:noFill/>
                    </a:lnL>
                    <a:lnR w="0">
                      <a:noFill/>
                    </a:lnR>
                    <a:lnT w="0">
                      <a:noFill/>
                    </a:lnT>
                    <a:lnB w="0">
                      <a:noFill/>
                    </a:lnB>
                    <a:noFill/>
                  </a:tcPr>
                </a:tc>
                <a:tc>
                  <a:txBody>
                    <a:bodyPr/>
                    <a:lstStyle/>
                    <a:p>
                      <a:pPr algn="l" fontAlgn="b"/>
                      <a:endParaRPr lang="es-CL" sz="16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3642547395"/>
                  </a:ext>
                </a:extLst>
              </a:tr>
              <a:tr h="679010">
                <a:tc>
                  <a:txBody>
                    <a:bodyPr/>
                    <a:lstStyle/>
                    <a:p>
                      <a:pPr marL="0" algn="l" rtl="0" eaLnBrk="1" fontAlgn="b" latinLnBrk="0" hangingPunct="1"/>
                      <a:r>
                        <a:rPr lang="es-ES" sz="1600" u="none" strike="noStrike" kern="1200">
                          <a:solidFill>
                            <a:srgbClr val="1A507C"/>
                          </a:solidFill>
                          <a:effectLst/>
                          <a:latin typeface="gobCL"/>
                          <a:ea typeface="+mn-ea"/>
                          <a:cs typeface="+mn-cs"/>
                        </a:rPr>
                        <a:t>C2: Avanzar en el estudio y dimensionamiento de las brechas remuneracionales en el Sector Público, ampliando su alcance. </a:t>
                      </a:r>
                    </a:p>
                  </a:txBody>
                  <a:tcPr marL="6350" marR="6350" marT="6350" marB="0" anchor="ctr">
                    <a:lnL w="0">
                      <a:noFill/>
                    </a:lnL>
                    <a:lnR w="0">
                      <a:noFill/>
                    </a:lnR>
                    <a:lnT w="0">
                      <a:noFill/>
                    </a:lnT>
                    <a:lnB w="0">
                      <a:noFill/>
                    </a:lnB>
                    <a:noFill/>
                  </a:tcPr>
                </a:tc>
                <a:tc>
                  <a:txBody>
                    <a:bodyPr/>
                    <a:lstStyle/>
                    <a:p>
                      <a:pPr algn="l" fontAlgn="b"/>
                      <a:endParaRPr lang="es-CL" sz="16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579461283"/>
                  </a:ext>
                </a:extLst>
              </a:tr>
              <a:tr h="754679">
                <a:tc>
                  <a:txBody>
                    <a:bodyPr/>
                    <a:lstStyle/>
                    <a:p>
                      <a:pPr marL="0" algn="l" rtl="0" eaLnBrk="1" fontAlgn="b" latinLnBrk="0" hangingPunct="1"/>
                      <a:r>
                        <a:rPr lang="es-ES" sz="1600" u="none" strike="noStrike" kern="1200">
                          <a:solidFill>
                            <a:srgbClr val="1A507C"/>
                          </a:solidFill>
                          <a:effectLst/>
                          <a:latin typeface="gobCL"/>
                          <a:ea typeface="+mn-ea"/>
                          <a:cs typeface="+mn-cs"/>
                        </a:rPr>
                        <a:t>C3: Avanzar progresivamente en conocer y proponer, medidas que fortalezcan la carrera funcionaria, incluyendo la formación, capacitación y evaluación del desempeño.</a:t>
                      </a:r>
                    </a:p>
                  </a:txBody>
                  <a:tcPr marL="6350" marR="6350" marT="6350" marB="0" anchor="ctr">
                    <a:lnL w="0">
                      <a:noFill/>
                    </a:lnL>
                    <a:lnR w="0">
                      <a:noFill/>
                    </a:lnR>
                    <a:lnT w="0">
                      <a:noFill/>
                    </a:lnT>
                    <a:lnB w="0">
                      <a:noFill/>
                    </a:lnB>
                    <a:noFill/>
                  </a:tcPr>
                </a:tc>
                <a:tc>
                  <a:txBody>
                    <a:bodyPr/>
                    <a:lstStyle/>
                    <a:p>
                      <a:pPr algn="l" fontAlgn="b"/>
                      <a:endParaRPr lang="es-CL" sz="16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3105789907"/>
                  </a:ext>
                </a:extLst>
              </a:tr>
              <a:tr h="721036">
                <a:tc>
                  <a:txBody>
                    <a:bodyPr/>
                    <a:lstStyle/>
                    <a:p>
                      <a:pPr marL="0" algn="l" rtl="0" eaLnBrk="1" fontAlgn="b" latinLnBrk="0" hangingPunct="1"/>
                      <a:r>
                        <a:rPr lang="es-ES" sz="1600" u="none" strike="noStrike" kern="1200">
                          <a:solidFill>
                            <a:srgbClr val="1A507C"/>
                          </a:solidFill>
                          <a:effectLst/>
                          <a:latin typeface="gobCL"/>
                          <a:ea typeface="+mn-ea"/>
                          <a:cs typeface="+mn-cs"/>
                        </a:rPr>
                        <a:t>C4: Seguimiento del proceso de Regularización de Honorarios definido en la Ley de Presupuestos y Ley de Reajuste.</a:t>
                      </a:r>
                    </a:p>
                  </a:txBody>
                  <a:tcPr marL="6350" marR="6350" marT="6350" marB="0" anchor="ctr">
                    <a:lnL w="0">
                      <a:noFill/>
                    </a:lnL>
                    <a:lnR w="0">
                      <a:noFill/>
                    </a:lnR>
                    <a:lnT w="0">
                      <a:noFill/>
                    </a:lnT>
                    <a:lnB w="0">
                      <a:noFill/>
                    </a:lnB>
                    <a:noFill/>
                  </a:tcPr>
                </a:tc>
                <a:tc>
                  <a:txBody>
                    <a:bodyPr/>
                    <a:lstStyle/>
                    <a:p>
                      <a:pPr algn="l" fontAlgn="b"/>
                      <a:endParaRPr lang="es-CL" sz="16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606976117"/>
                  </a:ext>
                </a:extLst>
              </a:tr>
              <a:tr h="328368">
                <a:tc>
                  <a:txBody>
                    <a:bodyPr/>
                    <a:lstStyle/>
                    <a:p>
                      <a:pPr marL="0" algn="l" rtl="0" eaLnBrk="1" fontAlgn="b" latinLnBrk="0" hangingPunct="1"/>
                      <a:r>
                        <a:rPr lang="es-ES" sz="1600" u="none" strike="noStrike" kern="1200">
                          <a:solidFill>
                            <a:srgbClr val="1A507C"/>
                          </a:solidFill>
                          <a:effectLst/>
                          <a:latin typeface="gobCL"/>
                          <a:ea typeface="+mn-ea"/>
                          <a:cs typeface="+mn-cs"/>
                        </a:rPr>
                        <a:t>C5: Abordar los siguientes compromisos del Protocolo de Acuerdo del año 2021: Agenda de Zonas, Demanda de Viático Único, Homologación de modernización Junji.</a:t>
                      </a:r>
                    </a:p>
                  </a:txBody>
                  <a:tcPr marL="6350" marR="6350" marT="6350" marB="0" anchor="ctr">
                    <a:lnL w="0">
                      <a:noFill/>
                    </a:lnL>
                    <a:lnR w="0">
                      <a:noFill/>
                    </a:lnR>
                    <a:lnT w="0">
                      <a:noFill/>
                    </a:lnT>
                    <a:lnB w="0">
                      <a:noFill/>
                    </a:lnB>
                    <a:noFill/>
                  </a:tcPr>
                </a:tc>
                <a:tc>
                  <a:txBody>
                    <a:bodyPr/>
                    <a:lstStyle/>
                    <a:p>
                      <a:pPr algn="l" fontAlgn="b"/>
                      <a:endParaRPr lang="es-CL" sz="16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3426263331"/>
                  </a:ext>
                </a:extLst>
              </a:tr>
            </a:tbl>
          </a:graphicData>
        </a:graphic>
      </p:graphicFrame>
      <p:grpSp>
        <p:nvGrpSpPr>
          <p:cNvPr id="19" name="Grupo 18">
            <a:extLst>
              <a:ext uri="{FF2B5EF4-FFF2-40B4-BE49-F238E27FC236}">
                <a16:creationId xmlns:a16="http://schemas.microsoft.com/office/drawing/2014/main" id="{512FE3F2-F785-3921-C479-9CF46A9ACCFF}"/>
              </a:ext>
            </a:extLst>
          </p:cNvPr>
          <p:cNvGrpSpPr/>
          <p:nvPr/>
        </p:nvGrpSpPr>
        <p:grpSpPr>
          <a:xfrm>
            <a:off x="8486731" y="249597"/>
            <a:ext cx="1613258" cy="830802"/>
            <a:chOff x="9242105" y="249597"/>
            <a:chExt cx="1613258" cy="830802"/>
          </a:xfrm>
        </p:grpSpPr>
        <p:pic>
          <p:nvPicPr>
            <p:cNvPr id="20" name="Gráfico 19" descr="Harvey Balls 100% con relleno sólido">
              <a:extLst>
                <a:ext uri="{FF2B5EF4-FFF2-40B4-BE49-F238E27FC236}">
                  <a16:creationId xmlns:a16="http://schemas.microsoft.com/office/drawing/2014/main" id="{C0694162-2FF4-CD15-70BA-F1936E51FC0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42105" y="533241"/>
              <a:ext cx="250031" cy="250031"/>
            </a:xfrm>
            <a:prstGeom prst="rect">
              <a:avLst/>
            </a:prstGeom>
          </p:spPr>
        </p:pic>
        <p:sp>
          <p:nvSpPr>
            <p:cNvPr id="21" name="CuadroTexto 20">
              <a:extLst>
                <a:ext uri="{FF2B5EF4-FFF2-40B4-BE49-F238E27FC236}">
                  <a16:creationId xmlns:a16="http://schemas.microsoft.com/office/drawing/2014/main" id="{E11A4F48-EA07-DBDA-556D-A099E9CE236D}"/>
                </a:ext>
              </a:extLst>
            </p:cNvPr>
            <p:cNvSpPr txBox="1"/>
            <p:nvPr/>
          </p:nvSpPr>
          <p:spPr>
            <a:xfrm>
              <a:off x="9492136" y="251101"/>
              <a:ext cx="1363227" cy="276999"/>
            </a:xfrm>
            <a:prstGeom prst="rect">
              <a:avLst/>
            </a:prstGeom>
            <a:noFill/>
          </p:spPr>
          <p:txBody>
            <a:bodyPr wrap="square">
              <a:spAutoFit/>
            </a:bodyPr>
            <a:lstStyle/>
            <a:p>
              <a:r>
                <a:rPr lang="es-CL" sz="1200">
                  <a:solidFill>
                    <a:schemeClr val="bg2">
                      <a:lumMod val="25000"/>
                    </a:schemeClr>
                  </a:solidFill>
                  <a:latin typeface="gobCL"/>
                </a:rPr>
                <a:t>Completado</a:t>
              </a:r>
            </a:p>
          </p:txBody>
        </p:sp>
        <p:sp>
          <p:nvSpPr>
            <p:cNvPr id="22" name="CuadroTexto 21">
              <a:extLst>
                <a:ext uri="{FF2B5EF4-FFF2-40B4-BE49-F238E27FC236}">
                  <a16:creationId xmlns:a16="http://schemas.microsoft.com/office/drawing/2014/main" id="{EEE776FA-2D7D-6529-E65D-A964FA2544AD}"/>
                </a:ext>
              </a:extLst>
            </p:cNvPr>
            <p:cNvSpPr txBox="1"/>
            <p:nvPr/>
          </p:nvSpPr>
          <p:spPr>
            <a:xfrm>
              <a:off x="9492136" y="511862"/>
              <a:ext cx="1363227" cy="307777"/>
            </a:xfrm>
            <a:prstGeom prst="rect">
              <a:avLst/>
            </a:prstGeom>
            <a:noFill/>
          </p:spPr>
          <p:txBody>
            <a:bodyPr wrap="square">
              <a:spAutoFit/>
            </a:bodyPr>
            <a:lstStyle/>
            <a:p>
              <a:r>
                <a:rPr lang="es-CL" sz="1200">
                  <a:solidFill>
                    <a:schemeClr val="bg2">
                      <a:lumMod val="25000"/>
                    </a:schemeClr>
                  </a:solidFill>
                  <a:latin typeface="gobCL"/>
                </a:rPr>
                <a:t>En</a:t>
              </a:r>
              <a:r>
                <a:rPr lang="es-CL" sz="1400" b="0" i="0" u="none" strike="noStrike">
                  <a:solidFill>
                    <a:schemeClr val="bg2">
                      <a:lumMod val="25000"/>
                    </a:schemeClr>
                  </a:solidFill>
                  <a:effectLst/>
                  <a:latin typeface="gobCL"/>
                </a:rPr>
                <a:t> </a:t>
              </a:r>
              <a:r>
                <a:rPr lang="es-CL" sz="1200">
                  <a:solidFill>
                    <a:schemeClr val="bg2">
                      <a:lumMod val="25000"/>
                    </a:schemeClr>
                  </a:solidFill>
                  <a:latin typeface="gobCL"/>
                </a:rPr>
                <a:t>proceso</a:t>
              </a:r>
            </a:p>
          </p:txBody>
        </p:sp>
        <p:sp>
          <p:nvSpPr>
            <p:cNvPr id="23" name="CuadroTexto 22">
              <a:extLst>
                <a:ext uri="{FF2B5EF4-FFF2-40B4-BE49-F238E27FC236}">
                  <a16:creationId xmlns:a16="http://schemas.microsoft.com/office/drawing/2014/main" id="{9F84EF97-25ED-4B94-047F-F8864E1F7B81}"/>
                </a:ext>
              </a:extLst>
            </p:cNvPr>
            <p:cNvSpPr txBox="1"/>
            <p:nvPr/>
          </p:nvSpPr>
          <p:spPr>
            <a:xfrm>
              <a:off x="9492136" y="803400"/>
              <a:ext cx="1363227" cy="276999"/>
            </a:xfrm>
            <a:prstGeom prst="rect">
              <a:avLst/>
            </a:prstGeom>
            <a:noFill/>
          </p:spPr>
          <p:txBody>
            <a:bodyPr wrap="square">
              <a:spAutoFit/>
            </a:bodyPr>
            <a:lstStyle/>
            <a:p>
              <a:r>
                <a:rPr lang="es-CL" sz="1200">
                  <a:solidFill>
                    <a:schemeClr val="bg2">
                      <a:lumMod val="25000"/>
                    </a:schemeClr>
                  </a:solidFill>
                  <a:latin typeface="gobCL"/>
                </a:rPr>
                <a:t>Pendiente</a:t>
              </a:r>
            </a:p>
          </p:txBody>
        </p:sp>
        <p:pic>
          <p:nvPicPr>
            <p:cNvPr id="24" name="Gráfico 23" descr="Harvey Balls 100% con relleno sólido">
              <a:extLst>
                <a:ext uri="{FF2B5EF4-FFF2-40B4-BE49-F238E27FC236}">
                  <a16:creationId xmlns:a16="http://schemas.microsoft.com/office/drawing/2014/main" id="{9A476951-C11C-FFDC-F358-6138F9A47C3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42105" y="816885"/>
              <a:ext cx="250031" cy="250031"/>
            </a:xfrm>
            <a:prstGeom prst="rect">
              <a:avLst/>
            </a:prstGeom>
          </p:spPr>
        </p:pic>
        <p:pic>
          <p:nvPicPr>
            <p:cNvPr id="25" name="Gráfico 24" descr="Harvey Balls 100% con relleno sólido">
              <a:extLst>
                <a:ext uri="{FF2B5EF4-FFF2-40B4-BE49-F238E27FC236}">
                  <a16:creationId xmlns:a16="http://schemas.microsoft.com/office/drawing/2014/main" id="{2016EEA6-A89B-1FA6-323D-3CDEABB363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242105" y="249597"/>
              <a:ext cx="250031" cy="250031"/>
            </a:xfrm>
            <a:prstGeom prst="rect">
              <a:avLst/>
            </a:prstGeom>
          </p:spPr>
        </p:pic>
      </p:grpSp>
      <p:pic>
        <p:nvPicPr>
          <p:cNvPr id="27" name="Gráfico 26" descr="Harvey Balls 100% con relleno sólido">
            <a:extLst>
              <a:ext uri="{FF2B5EF4-FFF2-40B4-BE49-F238E27FC236}">
                <a16:creationId xmlns:a16="http://schemas.microsoft.com/office/drawing/2014/main" id="{6C268E0B-DCC0-DF50-1DB1-D7806FE1CFC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351314" y="1838460"/>
            <a:ext cx="351110" cy="351110"/>
          </a:xfrm>
          <a:prstGeom prst="rect">
            <a:avLst/>
          </a:prstGeom>
        </p:spPr>
      </p:pic>
      <p:pic>
        <p:nvPicPr>
          <p:cNvPr id="4" name="Gráfico 26" descr="Harvey Balls 100% con relleno sólido">
            <a:extLst>
              <a:ext uri="{FF2B5EF4-FFF2-40B4-BE49-F238E27FC236}">
                <a16:creationId xmlns:a16="http://schemas.microsoft.com/office/drawing/2014/main" id="{8A6900A6-3417-BF6A-324F-032DD9958C0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349454" y="2504346"/>
            <a:ext cx="351110" cy="351110"/>
          </a:xfrm>
          <a:prstGeom prst="rect">
            <a:avLst/>
          </a:prstGeom>
        </p:spPr>
      </p:pic>
      <p:pic>
        <p:nvPicPr>
          <p:cNvPr id="8" name="Gráfico 26" descr="Harvey Balls 100% con relleno sólido">
            <a:extLst>
              <a:ext uri="{FF2B5EF4-FFF2-40B4-BE49-F238E27FC236}">
                <a16:creationId xmlns:a16="http://schemas.microsoft.com/office/drawing/2014/main" id="{F67A9D7F-44FF-4DA9-F05A-78F3608E4F5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351127" y="3220692"/>
            <a:ext cx="351110" cy="351110"/>
          </a:xfrm>
          <a:prstGeom prst="rect">
            <a:avLst/>
          </a:prstGeom>
        </p:spPr>
      </p:pic>
      <p:pic>
        <p:nvPicPr>
          <p:cNvPr id="9" name="Gráfico 26" descr="Harvey Balls 100% con relleno sólido">
            <a:extLst>
              <a:ext uri="{FF2B5EF4-FFF2-40B4-BE49-F238E27FC236}">
                <a16:creationId xmlns:a16="http://schemas.microsoft.com/office/drawing/2014/main" id="{D4C7B4E5-6682-67BC-2348-DC93D1D79FC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352799" y="3898314"/>
            <a:ext cx="351110" cy="351110"/>
          </a:xfrm>
          <a:prstGeom prst="rect">
            <a:avLst/>
          </a:prstGeom>
        </p:spPr>
      </p:pic>
      <p:pic>
        <p:nvPicPr>
          <p:cNvPr id="10" name="Gráfico 26" descr="Harvey Balls 100% con relleno sólido">
            <a:extLst>
              <a:ext uri="{FF2B5EF4-FFF2-40B4-BE49-F238E27FC236}">
                <a16:creationId xmlns:a16="http://schemas.microsoft.com/office/drawing/2014/main" id="{503C213A-7A16-BB0D-B73F-FB89F91825D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361853" y="4602970"/>
            <a:ext cx="351110" cy="351110"/>
          </a:xfrm>
          <a:prstGeom prst="rect">
            <a:avLst/>
          </a:prstGeom>
        </p:spPr>
      </p:pic>
    </p:spTree>
    <p:extLst>
      <p:ext uri="{BB962C8B-B14F-4D97-AF65-F5344CB8AC3E}">
        <p14:creationId xmlns:p14="http://schemas.microsoft.com/office/powerpoint/2010/main" val="353236501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166AE1B3-A580-482F-9F24-45B1B9245A2F}"/>
              </a:ext>
            </a:extLst>
          </p:cNvPr>
          <p:cNvSpPr>
            <a:spLocks noGrp="1"/>
          </p:cNvSpPr>
          <p:nvPr>
            <p:ph type="title"/>
          </p:nvPr>
        </p:nvSpPr>
        <p:spPr>
          <a:xfrm>
            <a:off x="556827" y="296874"/>
            <a:ext cx="10515600" cy="639586"/>
          </a:xfrm>
        </p:spPr>
        <p:txBody>
          <a:bodyPr>
            <a:normAutofit/>
          </a:bodyPr>
          <a:lstStyle/>
          <a:p>
            <a:r>
              <a:rPr lang="es-ES" sz="2800" b="1">
                <a:solidFill>
                  <a:srgbClr val="1A507C"/>
                </a:solidFill>
                <a:latin typeface="gobCL"/>
                <a:ea typeface="+mn-ea"/>
                <a:cs typeface="+mn-cs"/>
              </a:rPr>
              <a:t>Mesas Transversales</a:t>
            </a:r>
            <a:endParaRPr lang="es-CL" sz="2800" b="1">
              <a:solidFill>
                <a:srgbClr val="1A507C"/>
              </a:solidFill>
              <a:latin typeface="gobCL"/>
              <a:ea typeface="+mn-ea"/>
              <a:cs typeface="+mn-cs"/>
            </a:endParaRPr>
          </a:p>
        </p:txBody>
      </p:sp>
      <p:sp>
        <p:nvSpPr>
          <p:cNvPr id="5" name="Elipse 4">
            <a:extLst>
              <a:ext uri="{FF2B5EF4-FFF2-40B4-BE49-F238E27FC236}">
                <a16:creationId xmlns:a16="http://schemas.microsoft.com/office/drawing/2014/main" id="{C75B7C43-8DF4-4FF8-CDAA-78D79794023C}"/>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 name="Marcador de número de diapositiva 2">
            <a:extLst>
              <a:ext uri="{FF2B5EF4-FFF2-40B4-BE49-F238E27FC236}">
                <a16:creationId xmlns:a16="http://schemas.microsoft.com/office/drawing/2014/main" id="{EFE71632-71DE-2A54-64EA-E99EEEC99809}"/>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52</a:t>
            </a:fld>
            <a:endParaRPr lang="en-US" b="1">
              <a:solidFill>
                <a:schemeClr val="bg1"/>
              </a:solidFill>
              <a:latin typeface="Calibri"/>
              <a:ea typeface="ヒラギノ角ゴ Pro W3"/>
              <a:cs typeface="Calibri"/>
            </a:endParaRPr>
          </a:p>
        </p:txBody>
      </p:sp>
      <p:graphicFrame>
        <p:nvGraphicFramePr>
          <p:cNvPr id="3" name="Tabla 2">
            <a:extLst>
              <a:ext uri="{FF2B5EF4-FFF2-40B4-BE49-F238E27FC236}">
                <a16:creationId xmlns:a16="http://schemas.microsoft.com/office/drawing/2014/main" id="{9220FDDA-5187-89D4-426E-54589DFC76B5}"/>
              </a:ext>
            </a:extLst>
          </p:cNvPr>
          <p:cNvGraphicFramePr>
            <a:graphicFrameLocks noGrp="1"/>
          </p:cNvGraphicFramePr>
          <p:nvPr>
            <p:extLst>
              <p:ext uri="{D42A27DB-BD31-4B8C-83A1-F6EECF244321}">
                <p14:modId xmlns:p14="http://schemas.microsoft.com/office/powerpoint/2010/main" val="547800819"/>
              </p:ext>
            </p:extLst>
          </p:nvPr>
        </p:nvGraphicFramePr>
        <p:xfrm>
          <a:off x="594009" y="1381722"/>
          <a:ext cx="10306364" cy="1023259"/>
        </p:xfrm>
        <a:graphic>
          <a:graphicData uri="http://schemas.openxmlformats.org/drawingml/2006/table">
            <a:tbl>
              <a:tblPr firstRow="1" bandRow="1">
                <a:tableStyleId>{B301B821-A1FF-4177-AEE7-76D212191A09}</a:tableStyleId>
              </a:tblPr>
              <a:tblGrid>
                <a:gridCol w="9611240">
                  <a:extLst>
                    <a:ext uri="{9D8B030D-6E8A-4147-A177-3AD203B41FA5}">
                      <a16:colId xmlns:a16="http://schemas.microsoft.com/office/drawing/2014/main" val="265563881"/>
                    </a:ext>
                  </a:extLst>
                </a:gridCol>
                <a:gridCol w="695124">
                  <a:extLst>
                    <a:ext uri="{9D8B030D-6E8A-4147-A177-3AD203B41FA5}">
                      <a16:colId xmlns:a16="http://schemas.microsoft.com/office/drawing/2014/main" val="701581697"/>
                    </a:ext>
                  </a:extLst>
                </a:gridCol>
              </a:tblGrid>
              <a:tr h="347490">
                <a:tc>
                  <a:txBody>
                    <a:bodyPr/>
                    <a:lstStyle/>
                    <a:p>
                      <a:pPr algn="ctr" fontAlgn="b"/>
                      <a:r>
                        <a:rPr lang="es-CL" sz="2000" u="none" strike="noStrike">
                          <a:effectLst/>
                          <a:latin typeface="gobCL"/>
                        </a:rPr>
                        <a:t>CONTINUIDAD DE CONTRATAS</a:t>
                      </a:r>
                    </a:p>
                  </a:txBody>
                  <a:tcPr marL="8601" marR="8601" marT="8601" marB="0" anchor="ctr">
                    <a:lnL w="0">
                      <a:noFill/>
                    </a:lnL>
                    <a:lnR w="0">
                      <a:noFill/>
                    </a:lnR>
                    <a:lnT w="0">
                      <a:noFill/>
                    </a:lnT>
                    <a:lnB w="0">
                      <a:noFill/>
                    </a:lnB>
                    <a:solidFill>
                      <a:srgbClr val="004677"/>
                    </a:solidFill>
                  </a:tcPr>
                </a:tc>
                <a:tc>
                  <a:txBody>
                    <a:bodyPr/>
                    <a:lstStyle/>
                    <a:p>
                      <a:pPr algn="ctr" fontAlgn="b"/>
                      <a:endParaRPr lang="es-CL" sz="1400" u="none" strike="noStrike">
                        <a:effectLst/>
                        <a:latin typeface="gobCL" pitchFamily="50" charset="0"/>
                      </a:endParaRPr>
                    </a:p>
                  </a:txBody>
                  <a:tcPr marL="8601" marR="8601" marT="8601" marB="0" anchor="ctr">
                    <a:lnL w="0">
                      <a:noFill/>
                    </a:lnL>
                    <a:lnR w="0">
                      <a:noFill/>
                    </a:lnR>
                    <a:lnT w="0">
                      <a:noFill/>
                    </a:lnT>
                    <a:lnB w="0">
                      <a:noFill/>
                    </a:lnB>
                    <a:solidFill>
                      <a:srgbClr val="004677"/>
                    </a:solidFill>
                  </a:tcPr>
                </a:tc>
                <a:extLst>
                  <a:ext uri="{0D108BD9-81ED-4DB2-BD59-A6C34878D82A}">
                    <a16:rowId xmlns:a16="http://schemas.microsoft.com/office/drawing/2014/main" val="421966448"/>
                  </a:ext>
                </a:extLst>
              </a:tr>
              <a:tr h="675769">
                <a:tc>
                  <a:txBody>
                    <a:bodyPr/>
                    <a:lstStyle/>
                    <a:p>
                      <a:pPr marL="0" lvl="0" algn="l" defTabSz="914400">
                        <a:buNone/>
                      </a:pPr>
                      <a:r>
                        <a:rPr lang="es-ES" sz="1800" u="none" strike="noStrike" kern="1200">
                          <a:solidFill>
                            <a:srgbClr val="1A507C"/>
                          </a:solidFill>
                          <a:effectLst/>
                          <a:latin typeface="gobCL"/>
                          <a:ea typeface="+mn-ea"/>
                          <a:cs typeface="+mn-cs"/>
                        </a:rPr>
                        <a:t>C1:Constituir el 15 de diciembre de 2022, una mesa de trabajo para revisar el cumplimiento de la circular sobre renovación del personal a contrata.</a:t>
                      </a:r>
                    </a:p>
                  </a:txBody>
                  <a:tcPr marL="6350" marR="6350" marT="6350" marB="0" anchor="ctr">
                    <a:lnL w="0">
                      <a:noFill/>
                    </a:lnL>
                    <a:lnR w="0">
                      <a:noFill/>
                    </a:lnR>
                    <a:lnT w="0">
                      <a:noFill/>
                    </a:lnT>
                    <a:lnB w="0">
                      <a:noFill/>
                    </a:lnB>
                    <a:noFill/>
                  </a:tcPr>
                </a:tc>
                <a:tc>
                  <a:txBody>
                    <a:bodyPr/>
                    <a:lstStyle/>
                    <a:p>
                      <a:pPr algn="l" fontAlgn="b"/>
                      <a:endParaRPr lang="es-CL" sz="1600" u="none" strike="noStrike">
                        <a:solidFill>
                          <a:srgbClr val="1A507C"/>
                        </a:solidFill>
                        <a:effectLst/>
                        <a:latin typeface="gobCL" pitchFamily="2" charset="77"/>
                      </a:endParaRPr>
                    </a:p>
                  </a:txBody>
                  <a:tcPr marL="8601" marR="8601" marT="8601" marB="0" anchor="ctr">
                    <a:lnL w="0">
                      <a:noFill/>
                    </a:lnL>
                    <a:lnR w="0">
                      <a:noFill/>
                    </a:lnR>
                    <a:lnT w="0">
                      <a:noFill/>
                    </a:lnT>
                    <a:lnB w="0">
                      <a:noFill/>
                    </a:lnB>
                    <a:noFill/>
                  </a:tcPr>
                </a:tc>
                <a:extLst>
                  <a:ext uri="{0D108BD9-81ED-4DB2-BD59-A6C34878D82A}">
                    <a16:rowId xmlns:a16="http://schemas.microsoft.com/office/drawing/2014/main" val="3642547395"/>
                  </a:ext>
                </a:extLst>
              </a:tr>
            </a:tbl>
          </a:graphicData>
        </a:graphic>
      </p:graphicFrame>
      <p:grpSp>
        <p:nvGrpSpPr>
          <p:cNvPr id="19" name="Grupo 18">
            <a:extLst>
              <a:ext uri="{FF2B5EF4-FFF2-40B4-BE49-F238E27FC236}">
                <a16:creationId xmlns:a16="http://schemas.microsoft.com/office/drawing/2014/main" id="{512FE3F2-F785-3921-C479-9CF46A9ACCFF}"/>
              </a:ext>
            </a:extLst>
          </p:cNvPr>
          <p:cNvGrpSpPr/>
          <p:nvPr/>
        </p:nvGrpSpPr>
        <p:grpSpPr>
          <a:xfrm>
            <a:off x="8486731" y="249597"/>
            <a:ext cx="1613258" cy="830802"/>
            <a:chOff x="9242105" y="249597"/>
            <a:chExt cx="1613258" cy="830802"/>
          </a:xfrm>
        </p:grpSpPr>
        <p:pic>
          <p:nvPicPr>
            <p:cNvPr id="20" name="Gráfico 19" descr="Harvey Balls 100% con relleno sólido">
              <a:extLst>
                <a:ext uri="{FF2B5EF4-FFF2-40B4-BE49-F238E27FC236}">
                  <a16:creationId xmlns:a16="http://schemas.microsoft.com/office/drawing/2014/main" id="{C0694162-2FF4-CD15-70BA-F1936E51FC0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9242105" y="533241"/>
              <a:ext cx="250031" cy="250031"/>
            </a:xfrm>
            <a:prstGeom prst="rect">
              <a:avLst/>
            </a:prstGeom>
          </p:spPr>
        </p:pic>
        <p:sp>
          <p:nvSpPr>
            <p:cNvPr id="21" name="CuadroTexto 20">
              <a:extLst>
                <a:ext uri="{FF2B5EF4-FFF2-40B4-BE49-F238E27FC236}">
                  <a16:creationId xmlns:a16="http://schemas.microsoft.com/office/drawing/2014/main" id="{E11A4F48-EA07-DBDA-556D-A099E9CE236D}"/>
                </a:ext>
              </a:extLst>
            </p:cNvPr>
            <p:cNvSpPr txBox="1"/>
            <p:nvPr/>
          </p:nvSpPr>
          <p:spPr>
            <a:xfrm>
              <a:off x="9492136" y="251101"/>
              <a:ext cx="1363227" cy="276999"/>
            </a:xfrm>
            <a:prstGeom prst="rect">
              <a:avLst/>
            </a:prstGeom>
            <a:noFill/>
          </p:spPr>
          <p:txBody>
            <a:bodyPr wrap="square">
              <a:spAutoFit/>
            </a:bodyPr>
            <a:lstStyle/>
            <a:p>
              <a:r>
                <a:rPr lang="es-CL" sz="1200">
                  <a:solidFill>
                    <a:schemeClr val="bg2">
                      <a:lumMod val="25000"/>
                    </a:schemeClr>
                  </a:solidFill>
                  <a:latin typeface="gobCL"/>
                </a:rPr>
                <a:t>Completado</a:t>
              </a:r>
            </a:p>
          </p:txBody>
        </p:sp>
        <p:sp>
          <p:nvSpPr>
            <p:cNvPr id="22" name="CuadroTexto 21">
              <a:extLst>
                <a:ext uri="{FF2B5EF4-FFF2-40B4-BE49-F238E27FC236}">
                  <a16:creationId xmlns:a16="http://schemas.microsoft.com/office/drawing/2014/main" id="{EEE776FA-2D7D-6529-E65D-A964FA2544AD}"/>
                </a:ext>
              </a:extLst>
            </p:cNvPr>
            <p:cNvSpPr txBox="1"/>
            <p:nvPr/>
          </p:nvSpPr>
          <p:spPr>
            <a:xfrm>
              <a:off x="9492136" y="511862"/>
              <a:ext cx="1363227" cy="307777"/>
            </a:xfrm>
            <a:prstGeom prst="rect">
              <a:avLst/>
            </a:prstGeom>
            <a:noFill/>
          </p:spPr>
          <p:txBody>
            <a:bodyPr wrap="square">
              <a:spAutoFit/>
            </a:bodyPr>
            <a:lstStyle/>
            <a:p>
              <a:r>
                <a:rPr lang="es-CL" sz="1200">
                  <a:solidFill>
                    <a:schemeClr val="bg2">
                      <a:lumMod val="25000"/>
                    </a:schemeClr>
                  </a:solidFill>
                  <a:latin typeface="gobCL"/>
                </a:rPr>
                <a:t>En</a:t>
              </a:r>
              <a:r>
                <a:rPr lang="es-CL" sz="1400" b="0" i="0" u="none" strike="noStrike">
                  <a:solidFill>
                    <a:schemeClr val="bg2">
                      <a:lumMod val="25000"/>
                    </a:schemeClr>
                  </a:solidFill>
                  <a:effectLst/>
                  <a:latin typeface="gobCL"/>
                </a:rPr>
                <a:t> </a:t>
              </a:r>
              <a:r>
                <a:rPr lang="es-CL" sz="1200">
                  <a:solidFill>
                    <a:schemeClr val="bg2">
                      <a:lumMod val="25000"/>
                    </a:schemeClr>
                  </a:solidFill>
                  <a:latin typeface="gobCL"/>
                </a:rPr>
                <a:t>proceso</a:t>
              </a:r>
            </a:p>
          </p:txBody>
        </p:sp>
        <p:sp>
          <p:nvSpPr>
            <p:cNvPr id="23" name="CuadroTexto 22">
              <a:extLst>
                <a:ext uri="{FF2B5EF4-FFF2-40B4-BE49-F238E27FC236}">
                  <a16:creationId xmlns:a16="http://schemas.microsoft.com/office/drawing/2014/main" id="{9F84EF97-25ED-4B94-047F-F8864E1F7B81}"/>
                </a:ext>
              </a:extLst>
            </p:cNvPr>
            <p:cNvSpPr txBox="1"/>
            <p:nvPr/>
          </p:nvSpPr>
          <p:spPr>
            <a:xfrm>
              <a:off x="9492136" y="803400"/>
              <a:ext cx="1363227" cy="276999"/>
            </a:xfrm>
            <a:prstGeom prst="rect">
              <a:avLst/>
            </a:prstGeom>
            <a:noFill/>
          </p:spPr>
          <p:txBody>
            <a:bodyPr wrap="square">
              <a:spAutoFit/>
            </a:bodyPr>
            <a:lstStyle/>
            <a:p>
              <a:r>
                <a:rPr lang="es-CL" sz="1200">
                  <a:solidFill>
                    <a:schemeClr val="bg2">
                      <a:lumMod val="25000"/>
                    </a:schemeClr>
                  </a:solidFill>
                  <a:latin typeface="gobCL"/>
                </a:rPr>
                <a:t>Pendiente</a:t>
              </a:r>
            </a:p>
          </p:txBody>
        </p:sp>
        <p:pic>
          <p:nvPicPr>
            <p:cNvPr id="24" name="Gráfico 23" descr="Harvey Balls 100% con relleno sólido">
              <a:extLst>
                <a:ext uri="{FF2B5EF4-FFF2-40B4-BE49-F238E27FC236}">
                  <a16:creationId xmlns:a16="http://schemas.microsoft.com/office/drawing/2014/main" id="{9A476951-C11C-FFDC-F358-6138F9A47C3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242105" y="816885"/>
              <a:ext cx="250031" cy="250031"/>
            </a:xfrm>
            <a:prstGeom prst="rect">
              <a:avLst/>
            </a:prstGeom>
          </p:spPr>
        </p:pic>
        <p:pic>
          <p:nvPicPr>
            <p:cNvPr id="25" name="Gráfico 24" descr="Harvey Balls 100% con relleno sólido">
              <a:extLst>
                <a:ext uri="{FF2B5EF4-FFF2-40B4-BE49-F238E27FC236}">
                  <a16:creationId xmlns:a16="http://schemas.microsoft.com/office/drawing/2014/main" id="{2016EEA6-A89B-1FA6-323D-3CDEABB363D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9242105" y="249597"/>
              <a:ext cx="250031" cy="250031"/>
            </a:xfrm>
            <a:prstGeom prst="rect">
              <a:avLst/>
            </a:prstGeom>
          </p:spPr>
        </p:pic>
      </p:grpSp>
      <p:pic>
        <p:nvPicPr>
          <p:cNvPr id="26" name="Gráfico 25" descr="Harvey Balls 100% con relleno sólido">
            <a:extLst>
              <a:ext uri="{FF2B5EF4-FFF2-40B4-BE49-F238E27FC236}">
                <a16:creationId xmlns:a16="http://schemas.microsoft.com/office/drawing/2014/main" id="{E0A5C576-FD49-CB18-63D9-45C93AACFF7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390486" y="1769476"/>
            <a:ext cx="351110" cy="351110"/>
          </a:xfrm>
          <a:prstGeom prst="rect">
            <a:avLst/>
          </a:prstGeom>
        </p:spPr>
      </p:pic>
    </p:spTree>
    <p:extLst>
      <p:ext uri="{BB962C8B-B14F-4D97-AF65-F5344CB8AC3E}">
        <p14:creationId xmlns:p14="http://schemas.microsoft.com/office/powerpoint/2010/main" val="265308869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uadroTexto 10">
            <a:extLst>
              <a:ext uri="{FF2B5EF4-FFF2-40B4-BE49-F238E27FC236}">
                <a16:creationId xmlns:a16="http://schemas.microsoft.com/office/drawing/2014/main" id="{3D173641-0F7A-4FF0-B324-9D07A3A76CBD}"/>
              </a:ext>
            </a:extLst>
          </p:cNvPr>
          <p:cNvSpPr txBox="1"/>
          <p:nvPr/>
        </p:nvSpPr>
        <p:spPr>
          <a:xfrm>
            <a:off x="635000" y="1135736"/>
            <a:ext cx="10274299" cy="338554"/>
          </a:xfrm>
          <a:prstGeom prst="rect">
            <a:avLst/>
          </a:prstGeom>
          <a:noFill/>
          <a:ln>
            <a:noFill/>
          </a:ln>
        </p:spPr>
        <p:txBody>
          <a:bodyPr wrap="square" lIns="91440" tIns="45720" rIns="91440" bIns="45720" rtlCol="0" anchor="t">
            <a:spAutoFit/>
          </a:bodyPr>
          <a:lstStyle/>
          <a:p>
            <a:pPr lvl="0" algn="ctr"/>
            <a:r>
              <a:rPr lang="es-CL" sz="1600" b="1">
                <a:solidFill>
                  <a:srgbClr val="1F4E79"/>
                </a:solidFill>
                <a:latin typeface="gobCL"/>
              </a:rPr>
              <a:t>Tabla 1 – Valores de corte beneficios rentas mínimas</a:t>
            </a:r>
            <a:endParaRPr lang="es-ES" sz="1600" b="1">
              <a:solidFill>
                <a:srgbClr val="1F4E79"/>
              </a:solidFill>
              <a:latin typeface="gobCL"/>
              <a:cs typeface="Calibri"/>
            </a:endParaRPr>
          </a:p>
        </p:txBody>
      </p:sp>
      <p:sp>
        <p:nvSpPr>
          <p:cNvPr id="6" name="Título 5">
            <a:extLst>
              <a:ext uri="{FF2B5EF4-FFF2-40B4-BE49-F238E27FC236}">
                <a16:creationId xmlns:a16="http://schemas.microsoft.com/office/drawing/2014/main" id="{907F8ED7-FA4E-1FDC-AA99-848241B6CD29}"/>
              </a:ext>
            </a:extLst>
          </p:cNvPr>
          <p:cNvSpPr txBox="1">
            <a:spLocks/>
          </p:cNvSpPr>
          <p:nvPr/>
        </p:nvSpPr>
        <p:spPr>
          <a:xfrm>
            <a:off x="557777" y="299815"/>
            <a:ext cx="7608323" cy="581412"/>
          </a:xfrm>
          <a:prstGeom prst="rect">
            <a:avLst/>
          </a:prstGeom>
          <a:noFill/>
          <a:ln w="9525">
            <a:noFill/>
            <a:miter lim="800000"/>
            <a:headEnd/>
            <a:tailEnd/>
          </a:ln>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s-ES_tradnl" sz="2800" b="1">
                <a:solidFill>
                  <a:srgbClr val="1F4E79"/>
                </a:solidFill>
                <a:latin typeface="gobCL"/>
                <a:ea typeface="Verdana"/>
                <a:cs typeface="Arial"/>
              </a:rPr>
              <a:t>Valores de corte de beneficios rentas mínimas</a:t>
            </a:r>
          </a:p>
        </p:txBody>
      </p:sp>
      <p:graphicFrame>
        <p:nvGraphicFramePr>
          <p:cNvPr id="5" name="Tabla 4">
            <a:extLst>
              <a:ext uri="{FF2B5EF4-FFF2-40B4-BE49-F238E27FC236}">
                <a16:creationId xmlns:a16="http://schemas.microsoft.com/office/drawing/2014/main" id="{F659F7CB-A43E-0AFE-E3FE-3C95AEA8CBD2}"/>
              </a:ext>
            </a:extLst>
          </p:cNvPr>
          <p:cNvGraphicFramePr>
            <a:graphicFrameLocks noGrp="1"/>
          </p:cNvGraphicFramePr>
          <p:nvPr>
            <p:extLst>
              <p:ext uri="{D42A27DB-BD31-4B8C-83A1-F6EECF244321}">
                <p14:modId xmlns:p14="http://schemas.microsoft.com/office/powerpoint/2010/main" val="2675499981"/>
              </p:ext>
            </p:extLst>
          </p:nvPr>
        </p:nvGraphicFramePr>
        <p:xfrm>
          <a:off x="609601" y="1480601"/>
          <a:ext cx="10299700" cy="3645013"/>
        </p:xfrm>
        <a:graphic>
          <a:graphicData uri="http://schemas.openxmlformats.org/drawingml/2006/table">
            <a:tbl>
              <a:tblPr/>
              <a:tblGrid>
                <a:gridCol w="6603999">
                  <a:extLst>
                    <a:ext uri="{9D8B030D-6E8A-4147-A177-3AD203B41FA5}">
                      <a16:colId xmlns:a16="http://schemas.microsoft.com/office/drawing/2014/main" val="3078934828"/>
                    </a:ext>
                  </a:extLst>
                </a:gridCol>
                <a:gridCol w="1512020">
                  <a:extLst>
                    <a:ext uri="{9D8B030D-6E8A-4147-A177-3AD203B41FA5}">
                      <a16:colId xmlns:a16="http://schemas.microsoft.com/office/drawing/2014/main" val="2530618600"/>
                    </a:ext>
                  </a:extLst>
                </a:gridCol>
                <a:gridCol w="2183681">
                  <a:extLst>
                    <a:ext uri="{9D8B030D-6E8A-4147-A177-3AD203B41FA5}">
                      <a16:colId xmlns:a16="http://schemas.microsoft.com/office/drawing/2014/main" val="709025098"/>
                    </a:ext>
                  </a:extLst>
                </a:gridCol>
              </a:tblGrid>
              <a:tr h="411699">
                <a:tc>
                  <a:txBody>
                    <a:bodyPr/>
                    <a:lstStyle/>
                    <a:p>
                      <a:pPr algn="ctr" fontAlgn="ctr"/>
                      <a:r>
                        <a:rPr lang="es-CL" sz="1600" b="1" i="0" u="none" strike="noStrike">
                          <a:solidFill>
                            <a:srgbClr val="FFFFFF"/>
                          </a:solidFill>
                          <a:effectLst/>
                          <a:latin typeface="gobCL" pitchFamily="50" charset="0"/>
                        </a:rPr>
                        <a:t>Beneficio</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p>
                      <a:pPr algn="ctr" fontAlgn="ctr"/>
                      <a:r>
                        <a:rPr lang="es-CL" sz="1400" b="1" i="0" u="none" strike="noStrike">
                          <a:solidFill>
                            <a:srgbClr val="FFFFFF"/>
                          </a:solidFill>
                          <a:effectLst/>
                          <a:latin typeface="gobCL" pitchFamily="50" charset="0"/>
                        </a:rPr>
                        <a:t>Valores de cort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p>
                      <a:pPr algn="ctr" fontAlgn="ctr"/>
                      <a:r>
                        <a:rPr lang="es-CL" sz="1400" b="1" i="0" u="none" strike="noStrike">
                          <a:solidFill>
                            <a:srgbClr val="FFFFFF"/>
                          </a:solidFill>
                          <a:effectLst/>
                          <a:latin typeface="gobCL" pitchFamily="50" charset="0"/>
                        </a:rPr>
                        <a:t>Beneficiarios estimado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F4E79"/>
                    </a:solidFill>
                  </a:tcPr>
                </a:tc>
                <a:extLst>
                  <a:ext uri="{0D108BD9-81ED-4DB2-BD59-A6C34878D82A}">
                    <a16:rowId xmlns:a16="http://schemas.microsoft.com/office/drawing/2014/main" val="395893030"/>
                  </a:ext>
                </a:extLst>
              </a:tr>
              <a:tr h="428909">
                <a:tc>
                  <a:txBody>
                    <a:bodyPr/>
                    <a:lstStyle/>
                    <a:p>
                      <a:pPr algn="l" fontAlgn="ctr"/>
                      <a:r>
                        <a:rPr lang="es-ES" sz="1600" b="1" i="0" u="none" strike="noStrike">
                          <a:solidFill>
                            <a:srgbClr val="1F4E79"/>
                          </a:solidFill>
                          <a:effectLst/>
                          <a:latin typeface="gobCL" pitchFamily="50" charset="0"/>
                        </a:rPr>
                        <a:t>Remuneraciones Mínimas a partir del 1 de enero (artículo 21 ley n°19.42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200" b="0" i="0" u="none" strike="noStrike">
                          <a:solidFill>
                            <a:srgbClr val="1F4E79"/>
                          </a:solidFill>
                          <a:effectLst/>
                          <a:latin typeface="gobCL" pitchFamily="50"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57.57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442135282"/>
                  </a:ext>
                </a:extLst>
              </a:tr>
              <a:tr h="395916">
                <a:tc>
                  <a:txBody>
                    <a:bodyPr/>
                    <a:lstStyle/>
                    <a:p>
                      <a:pPr algn="r" fontAlgn="ctr"/>
                      <a:r>
                        <a:rPr lang="es-CL" sz="1400" b="0" i="0" u="none" strike="noStrike">
                          <a:solidFill>
                            <a:srgbClr val="1F4E79"/>
                          </a:solidFill>
                          <a:effectLst/>
                          <a:latin typeface="gobCL" pitchFamily="50" charset="0"/>
                        </a:rPr>
                        <a:t>Auxiliare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 $  503.005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561609530"/>
                  </a:ext>
                </a:extLst>
              </a:tr>
              <a:tr h="395916">
                <a:tc>
                  <a:txBody>
                    <a:bodyPr/>
                    <a:lstStyle/>
                    <a:p>
                      <a:pPr algn="r" fontAlgn="ctr"/>
                      <a:r>
                        <a:rPr lang="es-CL" sz="1400" b="0" i="0" u="none" strike="noStrike">
                          <a:solidFill>
                            <a:srgbClr val="1F4E79"/>
                          </a:solidFill>
                          <a:effectLst/>
                          <a:latin typeface="gobCL" pitchFamily="50" charset="0"/>
                        </a:rPr>
                        <a:t>Administrativo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 $  559.797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56964102"/>
                  </a:ext>
                </a:extLst>
              </a:tr>
              <a:tr h="395916">
                <a:tc>
                  <a:txBody>
                    <a:bodyPr/>
                    <a:lstStyle/>
                    <a:p>
                      <a:pPr algn="r" fontAlgn="ctr"/>
                      <a:r>
                        <a:rPr lang="es-CL" sz="1400" b="0" i="0" u="none" strike="noStrike">
                          <a:solidFill>
                            <a:srgbClr val="1F4E79"/>
                          </a:solidFill>
                          <a:effectLst/>
                          <a:latin typeface="gobCL" pitchFamily="50" charset="0"/>
                        </a:rPr>
                        <a:t>Técnico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 $  595.49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33585739"/>
                  </a:ext>
                </a:extLst>
              </a:tr>
              <a:tr h="428909">
                <a:tc>
                  <a:txBody>
                    <a:bodyPr/>
                    <a:lstStyle/>
                    <a:p>
                      <a:pPr algn="l" fontAlgn="ctr"/>
                      <a:r>
                        <a:rPr lang="es-CL" sz="1600" b="1" i="0" u="none" strike="noStrike">
                          <a:solidFill>
                            <a:srgbClr val="1F4E79"/>
                          </a:solidFill>
                          <a:effectLst/>
                          <a:latin typeface="gobCL" pitchFamily="50" charset="0"/>
                        </a:rPr>
                        <a:t>Bono mensual de cargo fiscal</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200" b="0" i="0" u="none" strike="noStrike">
                          <a:solidFill>
                            <a:srgbClr val="1F4E79"/>
                          </a:solidFill>
                          <a:effectLst/>
                          <a:latin typeface="gobCL" pitchFamily="50"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114.80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87474214"/>
                  </a:ext>
                </a:extLst>
              </a:tr>
              <a:tr h="395916">
                <a:tc>
                  <a:txBody>
                    <a:bodyPr/>
                    <a:lstStyle/>
                    <a:p>
                      <a:pPr algn="r" fontAlgn="ctr"/>
                      <a:r>
                        <a:rPr lang="es-CL" sz="1400" b="0" i="0" u="none" strike="noStrike">
                          <a:solidFill>
                            <a:srgbClr val="1F4E79"/>
                          </a:solidFill>
                          <a:effectLst/>
                          <a:latin typeface="gobCL" pitchFamily="50" charset="0"/>
                        </a:rPr>
                        <a:t>Aporte máximo</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 $    56.041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78931547"/>
                  </a:ext>
                </a:extLst>
              </a:tr>
              <a:tr h="395916">
                <a:tc>
                  <a:txBody>
                    <a:bodyPr/>
                    <a:lstStyle/>
                    <a:p>
                      <a:pPr algn="r" fontAlgn="ctr"/>
                      <a:r>
                        <a:rPr lang="es-ES" sz="1400" b="0" i="0" u="none" strike="noStrike">
                          <a:solidFill>
                            <a:srgbClr val="1F4E79"/>
                          </a:solidFill>
                          <a:effectLst/>
                          <a:latin typeface="gobCL" pitchFamily="50" charset="0"/>
                        </a:rPr>
                        <a:t>Valor Rem. bruta mensual bajo el cual reciben aporte máximo</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 $  597.399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5654317"/>
                  </a:ext>
                </a:extLst>
              </a:tr>
              <a:tr h="395916">
                <a:tc>
                  <a:txBody>
                    <a:bodyPr/>
                    <a:lstStyle/>
                    <a:p>
                      <a:pPr algn="r" fontAlgn="ctr"/>
                      <a:r>
                        <a:rPr lang="es-ES" sz="1400" b="0" i="0" u="none" strike="noStrike">
                          <a:solidFill>
                            <a:srgbClr val="1F4E79"/>
                          </a:solidFill>
                          <a:effectLst/>
                          <a:latin typeface="gobCL" pitchFamily="50" charset="0"/>
                        </a:rPr>
                        <a:t>Valor Rem- bruta mensual bajo el cual reciben aporte máximo descontado</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381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 $  675.482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381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381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647657902"/>
                  </a:ext>
                </a:extLst>
              </a:tr>
            </a:tbl>
          </a:graphicData>
        </a:graphic>
      </p:graphicFrame>
      <p:graphicFrame>
        <p:nvGraphicFramePr>
          <p:cNvPr id="8" name="Tabla 7">
            <a:extLst>
              <a:ext uri="{FF2B5EF4-FFF2-40B4-BE49-F238E27FC236}">
                <a16:creationId xmlns:a16="http://schemas.microsoft.com/office/drawing/2014/main" id="{37DA734C-2A23-88F8-C593-C73417A339BA}"/>
              </a:ext>
            </a:extLst>
          </p:cNvPr>
          <p:cNvGraphicFramePr>
            <a:graphicFrameLocks noGrp="1"/>
          </p:cNvGraphicFramePr>
          <p:nvPr>
            <p:extLst>
              <p:ext uri="{D42A27DB-BD31-4B8C-83A1-F6EECF244321}">
                <p14:modId xmlns:p14="http://schemas.microsoft.com/office/powerpoint/2010/main" val="383338583"/>
              </p:ext>
            </p:extLst>
          </p:nvPr>
        </p:nvGraphicFramePr>
        <p:xfrm>
          <a:off x="609600" y="5455564"/>
          <a:ext cx="10299699" cy="767436"/>
        </p:xfrm>
        <a:graphic>
          <a:graphicData uri="http://schemas.openxmlformats.org/drawingml/2006/table">
            <a:tbl>
              <a:tblPr/>
              <a:tblGrid>
                <a:gridCol w="5346700">
                  <a:extLst>
                    <a:ext uri="{9D8B030D-6E8A-4147-A177-3AD203B41FA5}">
                      <a16:colId xmlns:a16="http://schemas.microsoft.com/office/drawing/2014/main" val="2417206300"/>
                    </a:ext>
                  </a:extLst>
                </a:gridCol>
                <a:gridCol w="1524000">
                  <a:extLst>
                    <a:ext uri="{9D8B030D-6E8A-4147-A177-3AD203B41FA5}">
                      <a16:colId xmlns:a16="http://schemas.microsoft.com/office/drawing/2014/main" val="2399897316"/>
                    </a:ext>
                  </a:extLst>
                </a:gridCol>
                <a:gridCol w="1435100">
                  <a:extLst>
                    <a:ext uri="{9D8B030D-6E8A-4147-A177-3AD203B41FA5}">
                      <a16:colId xmlns:a16="http://schemas.microsoft.com/office/drawing/2014/main" val="2625187565"/>
                    </a:ext>
                  </a:extLst>
                </a:gridCol>
                <a:gridCol w="1993899">
                  <a:extLst>
                    <a:ext uri="{9D8B030D-6E8A-4147-A177-3AD203B41FA5}">
                      <a16:colId xmlns:a16="http://schemas.microsoft.com/office/drawing/2014/main" val="3047699596"/>
                    </a:ext>
                  </a:extLst>
                </a:gridCol>
              </a:tblGrid>
              <a:tr h="452372">
                <a:tc>
                  <a:txBody>
                    <a:bodyPr/>
                    <a:lstStyle/>
                    <a:p>
                      <a:pPr algn="ctr" fontAlgn="ctr"/>
                      <a:r>
                        <a:rPr lang="es-CL" sz="1400" b="1" i="0" u="none" strike="noStrike">
                          <a:solidFill>
                            <a:srgbClr val="FFFFFF"/>
                          </a:solidFill>
                          <a:effectLst/>
                          <a:latin typeface="gobCL" pitchFamily="50" charset="0"/>
                        </a:rPr>
                        <a:t>Beneficio</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p>
                      <a:pPr algn="ctr" fontAlgn="ctr"/>
                      <a:r>
                        <a:rPr lang="es-CL" sz="1400" b="1" i="0" u="none" strike="noStrike">
                          <a:solidFill>
                            <a:srgbClr val="FFFFFF"/>
                          </a:solidFill>
                          <a:effectLst/>
                          <a:latin typeface="gobCL" pitchFamily="50" charset="0"/>
                        </a:rPr>
                        <a:t>Valores de cort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p>
                      <a:pPr algn="ctr" fontAlgn="ctr"/>
                      <a:r>
                        <a:rPr lang="es-CL" sz="1400" b="1" i="0" u="none" strike="noStrike">
                          <a:solidFill>
                            <a:srgbClr val="FFFFFF"/>
                          </a:solidFill>
                          <a:effectLst/>
                          <a:latin typeface="gobCL" pitchFamily="50" charset="0"/>
                        </a:rPr>
                        <a:t>Valor Bono</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F4E79"/>
                    </a:solidFill>
                  </a:tcPr>
                </a:tc>
                <a:tc>
                  <a:txBody>
                    <a:bodyPr/>
                    <a:lstStyle/>
                    <a:p>
                      <a:pPr algn="ctr" fontAlgn="ctr"/>
                      <a:r>
                        <a:rPr lang="es-CL" sz="1400" b="1" i="0" u="none" strike="noStrike">
                          <a:solidFill>
                            <a:srgbClr val="FFFFFF"/>
                          </a:solidFill>
                          <a:effectLst/>
                          <a:latin typeface="gobCL" pitchFamily="50" charset="0"/>
                        </a:rPr>
                        <a:t>Beneficiarios estimado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1F4E79"/>
                    </a:solidFill>
                  </a:tcPr>
                </a:tc>
                <a:extLst>
                  <a:ext uri="{0D108BD9-81ED-4DB2-BD59-A6C34878D82A}">
                    <a16:rowId xmlns:a16="http://schemas.microsoft.com/office/drawing/2014/main" val="76454766"/>
                  </a:ext>
                </a:extLst>
              </a:tr>
              <a:tr h="315064">
                <a:tc>
                  <a:txBody>
                    <a:bodyPr/>
                    <a:lstStyle/>
                    <a:p>
                      <a:pPr algn="l" fontAlgn="ctr"/>
                      <a:r>
                        <a:rPr lang="es-ES" sz="1400" b="0" i="0" u="none" strike="noStrike">
                          <a:solidFill>
                            <a:srgbClr val="1F4E79"/>
                          </a:solidFill>
                          <a:effectLst/>
                          <a:latin typeface="gobCL" pitchFamily="50" charset="0"/>
                        </a:rPr>
                        <a:t>Bono Rentas mínimas Asistentes de la Educación art.59 Ley N°20.88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 $  503.005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 $        34.139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5.85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29574569"/>
                  </a:ext>
                </a:extLst>
              </a:tr>
            </a:tbl>
          </a:graphicData>
        </a:graphic>
      </p:graphicFrame>
      <p:sp>
        <p:nvSpPr>
          <p:cNvPr id="2" name="Elipse 1">
            <a:extLst>
              <a:ext uri="{FF2B5EF4-FFF2-40B4-BE49-F238E27FC236}">
                <a16:creationId xmlns:a16="http://schemas.microsoft.com/office/drawing/2014/main" id="{E225D03B-E8FC-E41A-2C9C-0201138B05C7}"/>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 name="Marcador de número de diapositiva 2">
            <a:extLst>
              <a:ext uri="{FF2B5EF4-FFF2-40B4-BE49-F238E27FC236}">
                <a16:creationId xmlns:a16="http://schemas.microsoft.com/office/drawing/2014/main" id="{C1A5FD4D-55E9-2579-6DAC-7CFE1FE05784}"/>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53</a:t>
            </a:fld>
            <a:endParaRPr lang="en-US" b="1">
              <a:solidFill>
                <a:schemeClr val="bg1"/>
              </a:solidFill>
              <a:latin typeface="Calibri"/>
              <a:ea typeface="ヒラギノ角ゴ Pro W3"/>
              <a:cs typeface="Calibri"/>
            </a:endParaRPr>
          </a:p>
        </p:txBody>
      </p:sp>
    </p:spTree>
    <p:extLst>
      <p:ext uri="{BB962C8B-B14F-4D97-AF65-F5344CB8AC3E}">
        <p14:creationId xmlns:p14="http://schemas.microsoft.com/office/powerpoint/2010/main" val="2003756454"/>
      </p:ext>
    </p:extLst>
  </p:cSld>
  <p:clrMapOvr>
    <a:overrideClrMapping bg1="lt1" tx1="dk1" bg2="lt2" tx2="dk2" accent1="accent1" accent2="accent2" accent3="accent3" accent4="accent4" accent5="accent5" accent6="accent6" hlink="hlink" folHlink="folHlink"/>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uadroTexto 9">
            <a:extLst>
              <a:ext uri="{FF2B5EF4-FFF2-40B4-BE49-F238E27FC236}">
                <a16:creationId xmlns:a16="http://schemas.microsoft.com/office/drawing/2014/main" id="{D4F7E8F5-E4BD-4C84-9193-C9A4821F1140}"/>
              </a:ext>
            </a:extLst>
          </p:cNvPr>
          <p:cNvSpPr txBox="1"/>
          <p:nvPr/>
        </p:nvSpPr>
        <p:spPr>
          <a:xfrm>
            <a:off x="508001" y="1145754"/>
            <a:ext cx="9575799" cy="646331"/>
          </a:xfrm>
          <a:prstGeom prst="rect">
            <a:avLst/>
          </a:prstGeom>
          <a:noFill/>
        </p:spPr>
        <p:txBody>
          <a:bodyPr wrap="square" lIns="91440" tIns="45720" rIns="91440" bIns="45720" rtlCol="0" anchor="t">
            <a:spAutoFit/>
          </a:bodyPr>
          <a:lstStyle/>
          <a:p>
            <a:r>
              <a:rPr lang="es-CL">
                <a:solidFill>
                  <a:srgbClr val="1F4E79"/>
                </a:solidFill>
                <a:latin typeface="gobCL"/>
              </a:rPr>
              <a:t>Se reajustan en un 4,3% los valores de corte de los siguientes beneficios, mientras que el valor de los bonos se reajusta según los porcentajes establecidos anteriormente:</a:t>
            </a:r>
            <a:endParaRPr lang="es-CL">
              <a:solidFill>
                <a:srgbClr val="1F4E79"/>
              </a:solidFill>
              <a:latin typeface="gobCL"/>
              <a:ea typeface="Verdana" panose="020B0604030504040204" pitchFamily="34" charset="0"/>
              <a:cs typeface="Arial" panose="020B0604020202020204" pitchFamily="34" charset="0"/>
            </a:endParaRPr>
          </a:p>
        </p:txBody>
      </p:sp>
      <p:sp>
        <p:nvSpPr>
          <p:cNvPr id="4" name="Título 5">
            <a:extLst>
              <a:ext uri="{FF2B5EF4-FFF2-40B4-BE49-F238E27FC236}">
                <a16:creationId xmlns:a16="http://schemas.microsoft.com/office/drawing/2014/main" id="{FD1F2BED-BD52-6E3E-D692-EBCACDA8ABA4}"/>
              </a:ext>
            </a:extLst>
          </p:cNvPr>
          <p:cNvSpPr txBox="1">
            <a:spLocks/>
          </p:cNvSpPr>
          <p:nvPr/>
        </p:nvSpPr>
        <p:spPr>
          <a:xfrm>
            <a:off x="570477" y="299815"/>
            <a:ext cx="8281423" cy="581412"/>
          </a:xfrm>
          <a:prstGeom prst="rect">
            <a:avLst/>
          </a:prstGeom>
          <a:noFill/>
          <a:ln w="9525">
            <a:noFill/>
            <a:miter lim="800000"/>
            <a:headEnd/>
            <a:tailEnd/>
          </a:ln>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s-ES_tradnl" sz="2800" b="1">
                <a:solidFill>
                  <a:srgbClr val="1F4E79"/>
                </a:solidFill>
                <a:latin typeface="gobCL"/>
                <a:ea typeface="Verdana"/>
                <a:cs typeface="Arial"/>
              </a:rPr>
              <a:t>Reajuste otros beneficios</a:t>
            </a:r>
          </a:p>
        </p:txBody>
      </p:sp>
      <p:graphicFrame>
        <p:nvGraphicFramePr>
          <p:cNvPr id="7" name="Tabla 6">
            <a:extLst>
              <a:ext uri="{FF2B5EF4-FFF2-40B4-BE49-F238E27FC236}">
                <a16:creationId xmlns:a16="http://schemas.microsoft.com/office/drawing/2014/main" id="{977B9D40-8D9C-2926-2151-5BBDB29578DF}"/>
              </a:ext>
            </a:extLst>
          </p:cNvPr>
          <p:cNvGraphicFramePr>
            <a:graphicFrameLocks noGrp="1"/>
          </p:cNvGraphicFramePr>
          <p:nvPr>
            <p:extLst>
              <p:ext uri="{D42A27DB-BD31-4B8C-83A1-F6EECF244321}">
                <p14:modId xmlns:p14="http://schemas.microsoft.com/office/powerpoint/2010/main" val="3677079729"/>
              </p:ext>
            </p:extLst>
          </p:nvPr>
        </p:nvGraphicFramePr>
        <p:xfrm>
          <a:off x="630321" y="1950318"/>
          <a:ext cx="10304379" cy="4221877"/>
        </p:xfrm>
        <a:graphic>
          <a:graphicData uri="http://schemas.openxmlformats.org/drawingml/2006/table">
            <a:tbl>
              <a:tblPr/>
              <a:tblGrid>
                <a:gridCol w="3769518">
                  <a:extLst>
                    <a:ext uri="{9D8B030D-6E8A-4147-A177-3AD203B41FA5}">
                      <a16:colId xmlns:a16="http://schemas.microsoft.com/office/drawing/2014/main" val="3143855775"/>
                    </a:ext>
                  </a:extLst>
                </a:gridCol>
                <a:gridCol w="1307721">
                  <a:extLst>
                    <a:ext uri="{9D8B030D-6E8A-4147-A177-3AD203B41FA5}">
                      <a16:colId xmlns:a16="http://schemas.microsoft.com/office/drawing/2014/main" val="2858318152"/>
                    </a:ext>
                  </a:extLst>
                </a:gridCol>
                <a:gridCol w="1306785">
                  <a:extLst>
                    <a:ext uri="{9D8B030D-6E8A-4147-A177-3AD203B41FA5}">
                      <a16:colId xmlns:a16="http://schemas.microsoft.com/office/drawing/2014/main" val="1514934864"/>
                    </a:ext>
                  </a:extLst>
                </a:gridCol>
                <a:gridCol w="1306785">
                  <a:extLst>
                    <a:ext uri="{9D8B030D-6E8A-4147-A177-3AD203B41FA5}">
                      <a16:colId xmlns:a16="http://schemas.microsoft.com/office/drawing/2014/main" val="467699347"/>
                    </a:ext>
                  </a:extLst>
                </a:gridCol>
                <a:gridCol w="1306785">
                  <a:extLst>
                    <a:ext uri="{9D8B030D-6E8A-4147-A177-3AD203B41FA5}">
                      <a16:colId xmlns:a16="http://schemas.microsoft.com/office/drawing/2014/main" val="1593038325"/>
                    </a:ext>
                  </a:extLst>
                </a:gridCol>
                <a:gridCol w="1306785">
                  <a:extLst>
                    <a:ext uri="{9D8B030D-6E8A-4147-A177-3AD203B41FA5}">
                      <a16:colId xmlns:a16="http://schemas.microsoft.com/office/drawing/2014/main" val="64079547"/>
                    </a:ext>
                  </a:extLst>
                </a:gridCol>
              </a:tblGrid>
              <a:tr h="451116">
                <a:tc>
                  <a:txBody>
                    <a:bodyPr/>
                    <a:lstStyle/>
                    <a:p>
                      <a:pPr algn="ctr" fontAlgn="ctr"/>
                      <a:r>
                        <a:rPr lang="es-CL" sz="1400" b="1" i="0" u="none" strike="noStrike">
                          <a:solidFill>
                            <a:srgbClr val="FFFFFF"/>
                          </a:solidFill>
                          <a:effectLst/>
                          <a:latin typeface="gobCL" pitchFamily="50" charset="0"/>
                        </a:rPr>
                        <a:t>Beneficio</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D58"/>
                    </a:solidFill>
                  </a:tcPr>
                </a:tc>
                <a:tc gridSpan="2">
                  <a:txBody>
                    <a:bodyPr/>
                    <a:lstStyle/>
                    <a:p>
                      <a:pPr algn="ctr" fontAlgn="ctr"/>
                      <a:r>
                        <a:rPr lang="es-CL" sz="1400" b="1" i="0" u="none" strike="noStrike">
                          <a:solidFill>
                            <a:srgbClr val="FFFFFF"/>
                          </a:solidFill>
                          <a:effectLst/>
                          <a:latin typeface="gobCL" pitchFamily="50" charset="0"/>
                        </a:rPr>
                        <a:t>Valor bono</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D58"/>
                    </a:solidFill>
                  </a:tcPr>
                </a:tc>
                <a:tc hMerge="1">
                  <a:txBody>
                    <a:bodyPr/>
                    <a:lstStyle/>
                    <a:p>
                      <a:endParaRPr lang="es-CL"/>
                    </a:p>
                  </a:txBody>
                  <a:tcPr/>
                </a:tc>
                <a:tc gridSpan="2">
                  <a:txBody>
                    <a:bodyPr/>
                    <a:lstStyle/>
                    <a:p>
                      <a:pPr algn="ctr" fontAlgn="ctr"/>
                      <a:r>
                        <a:rPr lang="es-CL" sz="1400" b="1" i="0" u="none" strike="noStrike">
                          <a:solidFill>
                            <a:srgbClr val="FFFFFF"/>
                          </a:solidFill>
                          <a:effectLst/>
                          <a:latin typeface="gobCL" pitchFamily="50" charset="0"/>
                        </a:rPr>
                        <a:t>Valores de corte</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D58"/>
                    </a:solidFill>
                  </a:tcPr>
                </a:tc>
                <a:tc hMerge="1">
                  <a:txBody>
                    <a:bodyPr/>
                    <a:lstStyle/>
                    <a:p>
                      <a:endParaRPr lang="es-CL"/>
                    </a:p>
                  </a:txBody>
                  <a:tcPr/>
                </a:tc>
                <a:tc>
                  <a:txBody>
                    <a:bodyPr/>
                    <a:lstStyle/>
                    <a:p>
                      <a:pPr algn="ctr" fontAlgn="ctr"/>
                      <a:r>
                        <a:rPr lang="es-CL" sz="1400" b="1" i="0" u="none" strike="noStrike">
                          <a:solidFill>
                            <a:srgbClr val="FFFFFF"/>
                          </a:solidFill>
                          <a:effectLst/>
                          <a:latin typeface="gobCL" pitchFamily="50" charset="0"/>
                        </a:rPr>
                        <a:t>Beneficiarios estimado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3D58"/>
                    </a:solidFill>
                  </a:tcPr>
                </a:tc>
                <a:extLst>
                  <a:ext uri="{0D108BD9-81ED-4DB2-BD59-A6C34878D82A}">
                    <a16:rowId xmlns:a16="http://schemas.microsoft.com/office/drawing/2014/main" val="2618011828"/>
                  </a:ext>
                </a:extLst>
              </a:tr>
              <a:tr h="338068">
                <a:tc>
                  <a:txBody>
                    <a:bodyPr/>
                    <a:lstStyle/>
                    <a:p>
                      <a:pPr algn="l" fontAlgn="ctr"/>
                      <a:endParaRPr lang="es-CL" sz="1400" b="1" i="0" u="none" strike="noStrike">
                        <a:solidFill>
                          <a:srgbClr val="1F4E79"/>
                        </a:solidFill>
                        <a:effectLst/>
                        <a:latin typeface="gobCL" pitchFamily="50"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1" i="0" u="none" strike="noStrike">
                          <a:solidFill>
                            <a:srgbClr val="1F4E79"/>
                          </a:solidFill>
                          <a:effectLst/>
                          <a:latin typeface="gobCL" pitchFamily="50" charset="0"/>
                        </a:rPr>
                        <a:t>Tramo 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1" i="0" u="none" strike="noStrike">
                          <a:solidFill>
                            <a:srgbClr val="1F4E79"/>
                          </a:solidFill>
                          <a:effectLst/>
                          <a:latin typeface="gobCL" pitchFamily="50" charset="0"/>
                        </a:rPr>
                        <a:t>Tramo 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1" i="0" u="none" strike="noStrike">
                          <a:solidFill>
                            <a:srgbClr val="1F4E79"/>
                          </a:solidFill>
                          <a:effectLst/>
                          <a:latin typeface="gobCL" pitchFamily="50" charset="0"/>
                        </a:rPr>
                        <a:t>Tramo 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1" i="0" u="none" strike="noStrike">
                          <a:solidFill>
                            <a:srgbClr val="1F4E79"/>
                          </a:solidFill>
                          <a:effectLst/>
                          <a:latin typeface="gobCL" pitchFamily="50" charset="0"/>
                        </a:rPr>
                        <a:t>Tramo 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s-CL" sz="1400" b="1" i="0" u="none" strike="noStrike">
                        <a:solidFill>
                          <a:srgbClr val="1F4E79"/>
                        </a:solidFill>
                        <a:effectLst/>
                        <a:latin typeface="gobCL" pitchFamily="50"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18466396"/>
                  </a:ext>
                </a:extLst>
              </a:tr>
              <a:tr h="312063">
                <a:tc>
                  <a:txBody>
                    <a:bodyPr/>
                    <a:lstStyle/>
                    <a:p>
                      <a:pPr algn="l" fontAlgn="ctr"/>
                      <a:r>
                        <a:rPr lang="es-CL" sz="1400" b="0" i="0" u="none" strike="noStrike">
                          <a:solidFill>
                            <a:srgbClr val="1F4E79"/>
                          </a:solidFill>
                          <a:effectLst/>
                          <a:latin typeface="gobCL" pitchFamily="50" charset="0"/>
                        </a:rPr>
                        <a:t>Aguinaldo Navidad (20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 $    66.089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 $        34.959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 $      984.282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 $ 3.259.429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1.094.0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82714548"/>
                  </a:ext>
                </a:extLst>
              </a:tr>
              <a:tr h="312063">
                <a:tc>
                  <a:txBody>
                    <a:bodyPr/>
                    <a:lstStyle/>
                    <a:p>
                      <a:pPr algn="l" fontAlgn="ctr"/>
                      <a:r>
                        <a:rPr lang="es-CL" sz="1400" b="0" i="0" u="none" strike="noStrike">
                          <a:solidFill>
                            <a:srgbClr val="1F4E79"/>
                          </a:solidFill>
                          <a:effectLst/>
                          <a:latin typeface="gobCL" pitchFamily="50" charset="0"/>
                        </a:rPr>
                        <a:t>Aguinaldo Fiestas Patria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 $    85.09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 $        59.071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 $      984.282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 $ 3.259.429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1.094.0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5590153"/>
                  </a:ext>
                </a:extLst>
              </a:tr>
              <a:tr h="312063">
                <a:tc>
                  <a:txBody>
                    <a:bodyPr/>
                    <a:lstStyle/>
                    <a:p>
                      <a:pPr algn="l" fontAlgn="ctr"/>
                      <a:r>
                        <a:rPr lang="es-ES" sz="1400" b="0" i="0" u="none" strike="noStrike">
                          <a:solidFill>
                            <a:srgbClr val="1F4E79"/>
                          </a:solidFill>
                          <a:effectLst/>
                          <a:latin typeface="gobCL" pitchFamily="50" charset="0"/>
                        </a:rPr>
                        <a:t>Bono Escolar Normal y Adicional</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s-CL" sz="1400" b="0" i="0" u="none" strike="noStrike">
                        <a:solidFill>
                          <a:srgbClr val="1F4E79"/>
                        </a:solidFill>
                        <a:effectLst/>
                        <a:latin typeface="gobCL" pitchFamily="50"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s-CL" sz="1400" b="0" i="0" u="none" strike="noStrike">
                        <a:solidFill>
                          <a:srgbClr val="1F4E79"/>
                        </a:solidFill>
                        <a:effectLst/>
                        <a:latin typeface="gobCL" pitchFamily="50"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s-CL" sz="1400" b="0" i="0" u="none" strike="noStrike">
                        <a:solidFill>
                          <a:srgbClr val="1F4E79"/>
                        </a:solidFill>
                        <a:effectLst/>
                        <a:latin typeface="gobCL" pitchFamily="50"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s-CL" sz="1400" b="0" i="0" u="none" strike="noStrike">
                        <a:solidFill>
                          <a:srgbClr val="1F4E79"/>
                        </a:solidFill>
                        <a:effectLst/>
                        <a:latin typeface="gobCL" pitchFamily="50"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s-CL" sz="1400" b="0" i="0" u="none" strike="noStrike">
                        <a:solidFill>
                          <a:srgbClr val="1F4E79"/>
                        </a:solidFill>
                        <a:effectLst/>
                        <a:latin typeface="gobCL" pitchFamily="50"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87895065"/>
                  </a:ext>
                </a:extLst>
              </a:tr>
              <a:tr h="312063">
                <a:tc>
                  <a:txBody>
                    <a:bodyPr/>
                    <a:lstStyle/>
                    <a:p>
                      <a:pPr algn="r" fontAlgn="ctr"/>
                      <a:r>
                        <a:rPr lang="es-CL" sz="1400" b="0" i="0" u="none" strike="noStrike">
                          <a:solidFill>
                            <a:srgbClr val="1F4E79"/>
                          </a:solidFill>
                          <a:effectLst/>
                          <a:latin typeface="gobCL" pitchFamily="50" charset="0"/>
                        </a:rPr>
                        <a:t>Valor Normal</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 $    82.756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s-CL" sz="1400" b="0" i="0" u="none" strike="noStrike">
                        <a:solidFill>
                          <a:srgbClr val="1F4E79"/>
                        </a:solidFill>
                        <a:effectLst/>
                        <a:latin typeface="gobCL" pitchFamily="50"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 $   3.259.429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s-CL" sz="1400" b="0" i="0" u="none" strike="noStrike">
                        <a:solidFill>
                          <a:srgbClr val="1F4E79"/>
                        </a:solidFill>
                        <a:effectLst/>
                        <a:latin typeface="gobCL" pitchFamily="50"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500.34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990561503"/>
                  </a:ext>
                </a:extLst>
              </a:tr>
              <a:tr h="312063">
                <a:tc>
                  <a:txBody>
                    <a:bodyPr/>
                    <a:lstStyle/>
                    <a:p>
                      <a:pPr algn="r" fontAlgn="ctr"/>
                      <a:r>
                        <a:rPr lang="es-CL" sz="1400" b="0" i="0" u="none" strike="noStrike">
                          <a:solidFill>
                            <a:srgbClr val="1F4E79"/>
                          </a:solidFill>
                          <a:effectLst/>
                          <a:latin typeface="gobCL" pitchFamily="50" charset="0"/>
                        </a:rPr>
                        <a:t>Valor Adicional</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 $    34.959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s-CL" sz="1400" b="0" i="0" u="none" strike="noStrike">
                        <a:solidFill>
                          <a:srgbClr val="1F4E79"/>
                        </a:solidFill>
                        <a:effectLst/>
                        <a:latin typeface="gobCL" pitchFamily="50"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 $      984.282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s-CL" sz="1400" b="0" i="0" u="none" strike="noStrike">
                        <a:solidFill>
                          <a:srgbClr val="1F4E79"/>
                        </a:solidFill>
                        <a:effectLst/>
                        <a:latin typeface="gobCL" pitchFamily="50"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257.04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256911709"/>
                  </a:ext>
                </a:extLst>
              </a:tr>
              <a:tr h="312063">
                <a:tc>
                  <a:txBody>
                    <a:bodyPr/>
                    <a:lstStyle/>
                    <a:p>
                      <a:pPr algn="l" fontAlgn="ctr"/>
                      <a:r>
                        <a:rPr lang="es-CL" sz="1400" b="0" i="0" u="none" strike="noStrike">
                          <a:solidFill>
                            <a:srgbClr val="1F4E79"/>
                          </a:solidFill>
                          <a:effectLst/>
                          <a:latin typeface="gobCL" pitchFamily="50" charset="0"/>
                        </a:rPr>
                        <a:t>Aporte a Servicio de Bienestar</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s-CL" sz="1400" b="0" i="0" u="none" strike="noStrike">
                        <a:solidFill>
                          <a:srgbClr val="1F4E79"/>
                        </a:solidFill>
                        <a:effectLst/>
                        <a:latin typeface="gobCL" pitchFamily="50"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s-CL" sz="1400" b="0" i="0" u="none" strike="noStrike">
                        <a:solidFill>
                          <a:srgbClr val="1F4E79"/>
                        </a:solidFill>
                        <a:effectLst/>
                        <a:latin typeface="gobCL" pitchFamily="50"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s-CL" sz="1400" b="0" i="0" u="none" strike="noStrike">
                        <a:solidFill>
                          <a:srgbClr val="1F4E79"/>
                        </a:solidFill>
                        <a:effectLst/>
                        <a:latin typeface="gobCL" pitchFamily="50"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s-CL" sz="1400" b="0" i="0" u="none" strike="noStrike">
                        <a:solidFill>
                          <a:srgbClr val="1F4E79"/>
                        </a:solidFill>
                        <a:effectLst/>
                        <a:latin typeface="gobCL" pitchFamily="50"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s-CL" sz="1400" b="0" i="0" u="none" strike="noStrike">
                        <a:solidFill>
                          <a:srgbClr val="1F4E79"/>
                        </a:solidFill>
                        <a:effectLst/>
                        <a:latin typeface="gobCL" pitchFamily="50"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72294709"/>
                  </a:ext>
                </a:extLst>
              </a:tr>
              <a:tr h="312063">
                <a:tc>
                  <a:txBody>
                    <a:bodyPr/>
                    <a:lstStyle/>
                    <a:p>
                      <a:pPr algn="r" fontAlgn="ctr"/>
                      <a:r>
                        <a:rPr lang="es-CL" sz="1400" b="0" i="0" u="none" strike="noStrike">
                          <a:solidFill>
                            <a:srgbClr val="1F4E79"/>
                          </a:solidFill>
                          <a:effectLst/>
                          <a:latin typeface="gobCL" pitchFamily="50" charset="0"/>
                        </a:rPr>
                        <a:t>Aporte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 $  158.19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s-CL" sz="1400" b="0" i="0" u="none" strike="noStrike">
                        <a:solidFill>
                          <a:srgbClr val="1F4E79"/>
                        </a:solidFill>
                        <a:effectLst/>
                        <a:latin typeface="gobCL" pitchFamily="50"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s-CL" sz="1400" b="0" i="0" u="none" strike="noStrike">
                        <a:solidFill>
                          <a:srgbClr val="1F4E79"/>
                        </a:solidFill>
                        <a:effectLst/>
                        <a:latin typeface="gobCL" pitchFamily="50"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s-CL" sz="1400" b="0" i="0" u="none" strike="noStrike">
                        <a:solidFill>
                          <a:srgbClr val="1F4E79"/>
                        </a:solidFill>
                        <a:effectLst/>
                        <a:latin typeface="gobCL" pitchFamily="50"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358.73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23189446"/>
                  </a:ext>
                </a:extLst>
              </a:tr>
              <a:tr h="312063">
                <a:tc>
                  <a:txBody>
                    <a:bodyPr/>
                    <a:lstStyle/>
                    <a:p>
                      <a:pPr algn="r" fontAlgn="ctr"/>
                      <a:r>
                        <a:rPr lang="es-CL" sz="1400" b="0" i="0" u="none" strike="noStrike">
                          <a:solidFill>
                            <a:srgbClr val="1F4E79"/>
                          </a:solidFill>
                          <a:effectLst/>
                          <a:latin typeface="gobCL" pitchFamily="50" charset="0"/>
                        </a:rPr>
                        <a:t>Aporte extraordinario 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 $    15.819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s-CL" sz="1400" b="0" i="0" u="none" strike="noStrike">
                        <a:solidFill>
                          <a:srgbClr val="1F4E79"/>
                        </a:solidFill>
                        <a:effectLst/>
                        <a:latin typeface="gobCL" pitchFamily="50"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s-CL" sz="1400" b="0" i="0" u="none" strike="noStrike">
                        <a:solidFill>
                          <a:srgbClr val="1F4E79"/>
                        </a:solidFill>
                        <a:effectLst/>
                        <a:latin typeface="gobCL" pitchFamily="50"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s-CL" sz="1400" b="0" i="0" u="none" strike="noStrike">
                        <a:solidFill>
                          <a:srgbClr val="1F4E79"/>
                        </a:solidFill>
                        <a:effectLst/>
                        <a:latin typeface="gobCL" pitchFamily="50"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358.73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57305727"/>
                  </a:ext>
                </a:extLst>
              </a:tr>
              <a:tr h="312063">
                <a:tc>
                  <a:txBody>
                    <a:bodyPr/>
                    <a:lstStyle/>
                    <a:p>
                      <a:pPr algn="l" fontAlgn="ctr"/>
                      <a:r>
                        <a:rPr lang="es-CL" sz="1400" b="0" i="0" u="none" strike="noStrike">
                          <a:solidFill>
                            <a:srgbClr val="1F4E79"/>
                          </a:solidFill>
                          <a:effectLst/>
                          <a:latin typeface="gobCL" pitchFamily="50" charset="0"/>
                        </a:rPr>
                        <a:t>Bono de Vacaciones</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 $  104.8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 $        52.4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 $      984.282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 $ 3.259.429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1.094.0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58244074"/>
                  </a:ext>
                </a:extLst>
              </a:tr>
              <a:tr h="312063">
                <a:tc>
                  <a:txBody>
                    <a:bodyPr/>
                    <a:lstStyle/>
                    <a:p>
                      <a:pPr algn="l" fontAlgn="ctr"/>
                      <a:r>
                        <a:rPr lang="es-ES" sz="1400" b="0" i="0" u="none" strike="noStrike">
                          <a:solidFill>
                            <a:srgbClr val="1F4E79"/>
                          </a:solidFill>
                          <a:effectLst/>
                          <a:latin typeface="gobCL" pitchFamily="50" charset="0"/>
                        </a:rPr>
                        <a:t>Bono especial de cargo fiscal (de Negociación)</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 $  200.0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 $      100.000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 $      893.851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 $ 3.259.429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1.094.0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127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56249284"/>
                  </a:ext>
                </a:extLst>
              </a:tr>
              <a:tr h="312063">
                <a:tc>
                  <a:txBody>
                    <a:bodyPr/>
                    <a:lstStyle/>
                    <a:p>
                      <a:pPr algn="l" fontAlgn="ctr"/>
                      <a:r>
                        <a:rPr lang="es-ES" sz="1400" b="0" i="0" u="none" strike="noStrike">
                          <a:solidFill>
                            <a:srgbClr val="1F4E79"/>
                          </a:solidFill>
                          <a:effectLst/>
                          <a:latin typeface="gobCL" pitchFamily="50" charset="0"/>
                        </a:rPr>
                        <a:t>Ley 20.924 Bono de Atacam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381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 $  247.128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381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 $      123.564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381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 $      964.162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381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s-CL" sz="1400" b="0" i="0" u="none" strike="noStrike">
                          <a:solidFill>
                            <a:srgbClr val="1F4E79"/>
                          </a:solidFill>
                          <a:effectLst/>
                          <a:latin typeface="gobCL" pitchFamily="50" charset="0"/>
                        </a:rPr>
                        <a:t> $ 1.115.673 </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381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es-CL" sz="1400" b="0" i="0" u="none" strike="noStrike">
                        <a:solidFill>
                          <a:srgbClr val="1F4E79"/>
                        </a:solidFill>
                        <a:effectLst/>
                        <a:latin typeface="gobCL" pitchFamily="50" charset="0"/>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1F4E79"/>
                      </a:solidFill>
                      <a:prstDash val="solid"/>
                      <a:round/>
                      <a:headEnd type="none" w="med" len="med"/>
                      <a:tailEnd type="none" w="med" len="med"/>
                    </a:lnT>
                    <a:lnB w="38100" cap="flat" cmpd="sng" algn="ctr">
                      <a:solidFill>
                        <a:srgbClr val="1F4E79"/>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78795309"/>
                  </a:ext>
                </a:extLst>
              </a:tr>
            </a:tbl>
          </a:graphicData>
        </a:graphic>
      </p:graphicFrame>
      <p:sp>
        <p:nvSpPr>
          <p:cNvPr id="2" name="Elipse 1">
            <a:extLst>
              <a:ext uri="{FF2B5EF4-FFF2-40B4-BE49-F238E27FC236}">
                <a16:creationId xmlns:a16="http://schemas.microsoft.com/office/drawing/2014/main" id="{1F6DE938-78D9-AAA3-0F85-DBE5F07E349C}"/>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3" name="Marcador de número de diapositiva 2">
            <a:extLst>
              <a:ext uri="{FF2B5EF4-FFF2-40B4-BE49-F238E27FC236}">
                <a16:creationId xmlns:a16="http://schemas.microsoft.com/office/drawing/2014/main" id="{BBBEAF46-DCDD-9491-E2F8-F3145AFBD8F0}"/>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54</a:t>
            </a:fld>
            <a:endParaRPr lang="en-US" b="1">
              <a:solidFill>
                <a:schemeClr val="bg1"/>
              </a:solidFill>
              <a:latin typeface="Calibri"/>
              <a:ea typeface="ヒラギノ角ゴ Pro W3"/>
              <a:cs typeface="Calibri"/>
            </a:endParaRPr>
          </a:p>
        </p:txBody>
      </p:sp>
    </p:spTree>
    <p:extLst>
      <p:ext uri="{BB962C8B-B14F-4D97-AF65-F5344CB8AC3E}">
        <p14:creationId xmlns:p14="http://schemas.microsoft.com/office/powerpoint/2010/main" val="2684714154"/>
      </p:ext>
    </p:extLst>
  </p:cSld>
  <p:clrMapOvr>
    <a:masterClrMapping/>
  </p:clrMapOvr>
  <p:extLst>
    <p:ext uri="{6950BFC3-D8DA-4A85-94F7-54DA5524770B}">
      <p188:commentRel xmlns:p188="http://schemas.microsoft.com/office/powerpoint/2018/8/main" r:id="rId3"/>
    </p:ext>
  </p:extLs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a:extLst>
              <a:ext uri="{FF2B5EF4-FFF2-40B4-BE49-F238E27FC236}">
                <a16:creationId xmlns:a16="http://schemas.microsoft.com/office/drawing/2014/main" id="{79FF9171-4EFA-C7FC-9453-8B12E46DE596}"/>
              </a:ext>
            </a:extLst>
          </p:cNvPr>
          <p:cNvSpPr txBox="1"/>
          <p:nvPr/>
        </p:nvSpPr>
        <p:spPr>
          <a:xfrm>
            <a:off x="580938" y="221338"/>
            <a:ext cx="7619479" cy="1015663"/>
          </a:xfrm>
          <a:prstGeom prst="rect">
            <a:avLst/>
          </a:prstGeom>
          <a:noFill/>
        </p:spPr>
        <p:txBody>
          <a:bodyPr wrap="square" rtlCol="0">
            <a:spAutoFit/>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a:ln>
                  <a:noFill/>
                </a:ln>
                <a:solidFill>
                  <a:srgbClr val="1F4E79"/>
                </a:solidFill>
                <a:effectLst/>
                <a:uLnTx/>
                <a:uFillTx/>
                <a:latin typeface="gobCL"/>
                <a:ea typeface="+mn-ea"/>
                <a:cs typeface="+mn-cs"/>
              </a:rPr>
              <a:t>Tras una fuerte recuperación de la crisis, el empleo asalariado ha perdido dinamismo. Los funcionarios públicos han estado protegidos de la volatilidad</a:t>
            </a:r>
          </a:p>
        </p:txBody>
      </p:sp>
      <p:graphicFrame>
        <p:nvGraphicFramePr>
          <p:cNvPr id="4" name="Gráfico 3">
            <a:extLst>
              <a:ext uri="{FF2B5EF4-FFF2-40B4-BE49-F238E27FC236}">
                <a16:creationId xmlns:a16="http://schemas.microsoft.com/office/drawing/2014/main" id="{7F77DE5C-A14C-4116-A796-4A000C6F5C84}"/>
              </a:ext>
            </a:extLst>
          </p:cNvPr>
          <p:cNvGraphicFramePr>
            <a:graphicFrameLocks/>
          </p:cNvGraphicFramePr>
          <p:nvPr>
            <p:extLst>
              <p:ext uri="{D42A27DB-BD31-4B8C-83A1-F6EECF244321}">
                <p14:modId xmlns:p14="http://schemas.microsoft.com/office/powerpoint/2010/main" val="3870644431"/>
              </p:ext>
            </p:extLst>
          </p:nvPr>
        </p:nvGraphicFramePr>
        <p:xfrm>
          <a:off x="580938" y="1507787"/>
          <a:ext cx="5515062" cy="454348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Gráfico 4">
            <a:extLst>
              <a:ext uri="{FF2B5EF4-FFF2-40B4-BE49-F238E27FC236}">
                <a16:creationId xmlns:a16="http://schemas.microsoft.com/office/drawing/2014/main" id="{EF5B72CA-B0B4-8121-4CD4-2F28DFF07FF8}"/>
              </a:ext>
            </a:extLst>
          </p:cNvPr>
          <p:cNvGraphicFramePr>
            <a:graphicFrameLocks/>
          </p:cNvGraphicFramePr>
          <p:nvPr>
            <p:extLst>
              <p:ext uri="{D42A27DB-BD31-4B8C-83A1-F6EECF244321}">
                <p14:modId xmlns:p14="http://schemas.microsoft.com/office/powerpoint/2010/main" val="160962971"/>
              </p:ext>
            </p:extLst>
          </p:nvPr>
        </p:nvGraphicFramePr>
        <p:xfrm>
          <a:off x="6326641" y="1498059"/>
          <a:ext cx="5083903" cy="4494841"/>
        </p:xfrm>
        <a:graphic>
          <a:graphicData uri="http://schemas.openxmlformats.org/drawingml/2006/chart">
            <c:chart xmlns:c="http://schemas.openxmlformats.org/drawingml/2006/chart" xmlns:r="http://schemas.openxmlformats.org/officeDocument/2006/relationships" r:id="rId4"/>
          </a:graphicData>
        </a:graphic>
      </p:graphicFrame>
      <p:sp>
        <p:nvSpPr>
          <p:cNvPr id="11" name="Rectángulo 10">
            <a:extLst>
              <a:ext uri="{FF2B5EF4-FFF2-40B4-BE49-F238E27FC236}">
                <a16:creationId xmlns:a16="http://schemas.microsoft.com/office/drawing/2014/main" id="{5084C697-B632-A6F0-A9A8-C899053A1FBE}"/>
              </a:ext>
            </a:extLst>
          </p:cNvPr>
          <p:cNvSpPr/>
          <p:nvPr/>
        </p:nvSpPr>
        <p:spPr>
          <a:xfrm>
            <a:off x="521111" y="6113933"/>
            <a:ext cx="5659798" cy="369332"/>
          </a:xfrm>
          <a:prstGeom prst="rect">
            <a:avLst/>
          </a:prstGeom>
        </p:spPr>
        <p:txBody>
          <a:bodyPr wrap="square">
            <a:spAutoFit/>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1F4E79"/>
                </a:solidFill>
                <a:effectLst/>
                <a:uLnTx/>
                <a:uFillTx/>
                <a:latin typeface="gobCL" panose="02000603050000020004"/>
                <a:ea typeface="+mn-ea"/>
                <a:cs typeface="+mn-cs"/>
              </a:rPr>
              <a:t>Note: </a:t>
            </a:r>
            <a:r>
              <a:rPr kumimoji="0" lang="en-US" sz="900" b="0" i="0" u="none" strike="noStrike" kern="1200" cap="none" spc="0" normalizeH="0" baseline="0" noProof="0">
                <a:ln>
                  <a:noFill/>
                </a:ln>
                <a:solidFill>
                  <a:srgbClr val="1F4E79"/>
                </a:solidFill>
                <a:effectLst/>
                <a:uLnTx/>
                <a:uFillTx/>
                <a:latin typeface="gobCL" panose="02000603050000020004"/>
                <a:ea typeface="+mn-ea"/>
                <a:cs typeface="+mn-cs"/>
              </a:rPr>
              <a:t>(1) </a:t>
            </a:r>
            <a:r>
              <a:rPr kumimoji="0" lang="es-ES" sz="900" b="0" i="0" u="none" strike="noStrike" kern="1200" cap="none" spc="0" normalizeH="0" baseline="0" noProof="0">
                <a:ln>
                  <a:noFill/>
                </a:ln>
                <a:solidFill>
                  <a:srgbClr val="1F4E79"/>
                </a:solidFill>
                <a:effectLst/>
                <a:uLnTx/>
                <a:uFillTx/>
                <a:latin typeface="Gobcl" panose="02000603050000020004"/>
                <a:ea typeface="+mn-ea"/>
                <a:cs typeface="+mn-cs"/>
              </a:rPr>
              <a:t>Los registros administrativos corresponden a los cotizantes en el Sistema de Pension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900" b="1" i="0" u="none" strike="noStrike" kern="1200" cap="none" spc="0" normalizeH="0" baseline="0" noProof="0">
                <a:ln>
                  <a:noFill/>
                </a:ln>
                <a:solidFill>
                  <a:srgbClr val="1F4E79"/>
                </a:solidFill>
                <a:effectLst/>
                <a:uLnTx/>
                <a:uFillTx/>
                <a:latin typeface="Gobcl" panose="02000603050000020004"/>
                <a:ea typeface="+mn-ea"/>
                <a:cs typeface="+mn-cs"/>
              </a:rPr>
              <a:t>Fuente: </a:t>
            </a:r>
            <a:r>
              <a:rPr kumimoji="0" lang="es-ES" sz="900" b="0" i="0" u="none" strike="noStrike" kern="1200" cap="none" spc="0" normalizeH="0" baseline="0" noProof="0">
                <a:ln>
                  <a:noFill/>
                </a:ln>
                <a:solidFill>
                  <a:srgbClr val="1F4E79"/>
                </a:solidFill>
                <a:effectLst/>
                <a:uLnTx/>
                <a:uFillTx/>
                <a:latin typeface="Gobcl" panose="02000603050000020004"/>
                <a:ea typeface="+mn-ea"/>
                <a:cs typeface="+mn-cs"/>
              </a:rPr>
              <a:t>Instituto Nacional de Estadísticas y Superintendencia de Pensiones.</a:t>
            </a:r>
          </a:p>
        </p:txBody>
      </p:sp>
      <p:sp>
        <p:nvSpPr>
          <p:cNvPr id="12" name="Rectángulo 11">
            <a:extLst>
              <a:ext uri="{FF2B5EF4-FFF2-40B4-BE49-F238E27FC236}">
                <a16:creationId xmlns:a16="http://schemas.microsoft.com/office/drawing/2014/main" id="{649EFF4E-58DC-11BA-DE48-44AFA820F5F4}"/>
              </a:ext>
            </a:extLst>
          </p:cNvPr>
          <p:cNvSpPr/>
          <p:nvPr/>
        </p:nvSpPr>
        <p:spPr>
          <a:xfrm>
            <a:off x="6412186" y="6113933"/>
            <a:ext cx="3813721" cy="230832"/>
          </a:xfrm>
          <a:prstGeom prst="rect">
            <a:avLst/>
          </a:prstGeom>
        </p:spPr>
        <p:txBody>
          <a:bodyPr wrap="square">
            <a:spAutoFit/>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900" b="1" i="0" u="none" strike="noStrike" kern="1200" cap="none" spc="0" normalizeH="0" baseline="0" noProof="0">
                <a:ln>
                  <a:noFill/>
                </a:ln>
                <a:solidFill>
                  <a:srgbClr val="1F4E79"/>
                </a:solidFill>
                <a:effectLst/>
                <a:uLnTx/>
                <a:uFillTx/>
                <a:latin typeface="Gobcl" panose="02000603050000020004"/>
                <a:ea typeface="+mn-ea"/>
                <a:cs typeface="+mn-cs"/>
              </a:rPr>
              <a:t>Fuente: </a:t>
            </a:r>
            <a:r>
              <a:rPr kumimoji="0" lang="es-ES" sz="900" b="0" i="0" u="none" strike="noStrike" kern="1200" cap="none" spc="0" normalizeH="0" baseline="0" noProof="0">
                <a:ln>
                  <a:noFill/>
                </a:ln>
                <a:solidFill>
                  <a:srgbClr val="1F4E79"/>
                </a:solidFill>
                <a:effectLst/>
                <a:uLnTx/>
                <a:uFillTx/>
                <a:latin typeface="Gobcl" panose="02000603050000020004"/>
                <a:ea typeface="+mn-ea"/>
                <a:cs typeface="+mn-cs"/>
              </a:rPr>
              <a:t>Instituto Nacional de Estadísticas y Banco Central de Chile.</a:t>
            </a:r>
          </a:p>
        </p:txBody>
      </p:sp>
      <p:sp>
        <p:nvSpPr>
          <p:cNvPr id="3" name="Elipse 2">
            <a:extLst>
              <a:ext uri="{FF2B5EF4-FFF2-40B4-BE49-F238E27FC236}">
                <a16:creationId xmlns:a16="http://schemas.microsoft.com/office/drawing/2014/main" id="{6AC757E0-1695-EFAA-4E74-F2D0164D3B09}"/>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 name="Marcador de número de diapositiva 2">
            <a:extLst>
              <a:ext uri="{FF2B5EF4-FFF2-40B4-BE49-F238E27FC236}">
                <a16:creationId xmlns:a16="http://schemas.microsoft.com/office/drawing/2014/main" id="{91681979-50C7-DE4F-046F-2F988A87D9D4}"/>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6</a:t>
            </a:fld>
            <a:endParaRPr lang="en-US" b="1">
              <a:solidFill>
                <a:schemeClr val="bg1"/>
              </a:solidFill>
              <a:latin typeface="Calibri"/>
              <a:ea typeface="ヒラギノ角ゴ Pro W3"/>
              <a:cs typeface="Calibri"/>
            </a:endParaRPr>
          </a:p>
        </p:txBody>
      </p:sp>
    </p:spTree>
    <p:extLst>
      <p:ext uri="{BB962C8B-B14F-4D97-AF65-F5344CB8AC3E}">
        <p14:creationId xmlns:p14="http://schemas.microsoft.com/office/powerpoint/2010/main" val="13929277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a:extLst>
              <a:ext uri="{FF2B5EF4-FFF2-40B4-BE49-F238E27FC236}">
                <a16:creationId xmlns:a16="http://schemas.microsoft.com/office/drawing/2014/main" id="{79FF9171-4EFA-C7FC-9453-8B12E46DE596}"/>
              </a:ext>
            </a:extLst>
          </p:cNvPr>
          <p:cNvSpPr txBox="1"/>
          <p:nvPr/>
        </p:nvSpPr>
        <p:spPr>
          <a:xfrm>
            <a:off x="580939" y="231064"/>
            <a:ext cx="7084458" cy="1015663"/>
          </a:xfrm>
          <a:prstGeom prst="rect">
            <a:avLst/>
          </a:prstGeom>
          <a:noFill/>
        </p:spPr>
        <p:txBody>
          <a:bodyPr wrap="square" rtlCol="0">
            <a:spAutoFit/>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a:ln>
                  <a:noFill/>
                </a:ln>
                <a:solidFill>
                  <a:srgbClr val="1F4E79"/>
                </a:solidFill>
                <a:effectLst/>
                <a:uLnTx/>
                <a:uFillTx/>
                <a:latin typeface="gobCL"/>
                <a:ea typeface="+mn-ea"/>
                <a:cs typeface="+mn-cs"/>
              </a:rPr>
              <a:t>La tasa de empleo se ha recuperado casi por completo en los puestos asalariados, pero todavía hay una disparidad en el empleo por cuenta propia/independiente</a:t>
            </a:r>
          </a:p>
        </p:txBody>
      </p:sp>
      <p:graphicFrame>
        <p:nvGraphicFramePr>
          <p:cNvPr id="3" name="Gráfico 2">
            <a:extLst>
              <a:ext uri="{FF2B5EF4-FFF2-40B4-BE49-F238E27FC236}">
                <a16:creationId xmlns:a16="http://schemas.microsoft.com/office/drawing/2014/main" id="{7DC28705-3B90-D0EA-FFB1-F73790145448}"/>
              </a:ext>
            </a:extLst>
          </p:cNvPr>
          <p:cNvGraphicFramePr>
            <a:graphicFrameLocks/>
          </p:cNvGraphicFramePr>
          <p:nvPr/>
        </p:nvGraphicFramePr>
        <p:xfrm>
          <a:off x="659274" y="1467447"/>
          <a:ext cx="5347611" cy="450950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Gráfico 5">
            <a:extLst>
              <a:ext uri="{FF2B5EF4-FFF2-40B4-BE49-F238E27FC236}">
                <a16:creationId xmlns:a16="http://schemas.microsoft.com/office/drawing/2014/main" id="{7F4C436A-B1A9-416E-6B08-CF1F946726E6}"/>
              </a:ext>
            </a:extLst>
          </p:cNvPr>
          <p:cNvGraphicFramePr>
            <a:graphicFrameLocks/>
          </p:cNvGraphicFramePr>
          <p:nvPr/>
        </p:nvGraphicFramePr>
        <p:xfrm>
          <a:off x="6096000" y="1467447"/>
          <a:ext cx="5347611" cy="4509503"/>
        </p:xfrm>
        <a:graphic>
          <a:graphicData uri="http://schemas.openxmlformats.org/drawingml/2006/chart">
            <c:chart xmlns:c="http://schemas.openxmlformats.org/drawingml/2006/chart" xmlns:r="http://schemas.openxmlformats.org/officeDocument/2006/relationships" r:id="rId4"/>
          </a:graphicData>
        </a:graphic>
      </p:graphicFrame>
      <p:sp>
        <p:nvSpPr>
          <p:cNvPr id="9" name="CuadroTexto 8">
            <a:extLst>
              <a:ext uri="{FF2B5EF4-FFF2-40B4-BE49-F238E27FC236}">
                <a16:creationId xmlns:a16="http://schemas.microsoft.com/office/drawing/2014/main" id="{69402ED1-0A99-E4FD-DC30-C0937161E504}"/>
              </a:ext>
            </a:extLst>
          </p:cNvPr>
          <p:cNvSpPr txBox="1"/>
          <p:nvPr/>
        </p:nvSpPr>
        <p:spPr>
          <a:xfrm>
            <a:off x="580938" y="6309000"/>
            <a:ext cx="1143273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L" sz="900" b="1" i="0" u="none" strike="noStrike" kern="1200" cap="none" spc="0" normalizeH="0" baseline="0" noProof="0">
                <a:ln>
                  <a:noFill/>
                </a:ln>
                <a:solidFill>
                  <a:prstClr val="black"/>
                </a:solidFill>
                <a:effectLst/>
                <a:uLnTx/>
                <a:uFillTx/>
                <a:latin typeface="gobCL" panose="02000603050000020004" pitchFamily="50" charset="0"/>
                <a:ea typeface="+mn-ea"/>
                <a:cs typeface="+mn-cs"/>
              </a:rPr>
              <a:t>Nota: </a:t>
            </a:r>
            <a:r>
              <a:rPr kumimoji="0" lang="es-CL" sz="900" b="0" i="0" u="none" strike="noStrike" kern="1200" cap="none" spc="0" normalizeH="0" baseline="0" noProof="0">
                <a:ln>
                  <a:noFill/>
                </a:ln>
                <a:solidFill>
                  <a:prstClr val="black"/>
                </a:solidFill>
                <a:effectLst/>
                <a:uLnTx/>
                <a:uFillTx/>
                <a:latin typeface="gobCL" panose="02000603050000020004" pitchFamily="50" charset="0"/>
                <a:ea typeface="+mn-ea"/>
                <a:cs typeface="+mn-cs"/>
              </a:rPr>
              <a:t>(1) Incluye trabajadores por cuenta propia, familiares no remunerados, servicio doméstico y empleadores.</a:t>
            </a:r>
          </a:p>
          <a:p>
            <a:pPr marL="0" marR="0" lvl="0" indent="0" algn="l" defTabSz="914400" rtl="0" eaLnBrk="1" fontAlgn="b" latinLnBrk="0" hangingPunct="1">
              <a:lnSpc>
                <a:spcPct val="100000"/>
              </a:lnSpc>
              <a:spcBef>
                <a:spcPts val="0"/>
              </a:spcBef>
              <a:spcAft>
                <a:spcPts val="0"/>
              </a:spcAft>
              <a:buClrTx/>
              <a:buSzTx/>
              <a:buFontTx/>
              <a:buNone/>
              <a:tabLst/>
              <a:defRPr/>
            </a:pPr>
            <a:r>
              <a:rPr kumimoji="0" lang="es-CL" sz="900" b="1" i="0" u="none" strike="noStrike" kern="1200" cap="none" spc="0" normalizeH="0" baseline="0" noProof="0">
                <a:ln>
                  <a:noFill/>
                </a:ln>
                <a:solidFill>
                  <a:prstClr val="black"/>
                </a:solidFill>
                <a:effectLst/>
                <a:uLnTx/>
                <a:uFillTx/>
                <a:latin typeface="gobCL" panose="02000603050000020004" pitchFamily="50" charset="0"/>
                <a:ea typeface="+mn-ea"/>
                <a:cs typeface="+mn-cs"/>
              </a:rPr>
              <a:t>Fuente</a:t>
            </a:r>
            <a:r>
              <a:rPr kumimoji="0" lang="es-CL" sz="900" b="0" i="0" u="none" strike="noStrike" kern="1200" cap="none" spc="0" normalizeH="0" baseline="0" noProof="0">
                <a:ln>
                  <a:noFill/>
                </a:ln>
                <a:solidFill>
                  <a:prstClr val="black"/>
                </a:solidFill>
                <a:effectLst/>
                <a:uLnTx/>
                <a:uFillTx/>
                <a:latin typeface="gobCL" panose="02000603050000020004" pitchFamily="50" charset="0"/>
                <a:ea typeface="+mn-ea"/>
                <a:cs typeface="+mn-cs"/>
              </a:rPr>
              <a:t>: Instituto Nacional de Estadísticas. </a:t>
            </a:r>
            <a:endParaRPr kumimoji="0" lang="es-CL" sz="16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 name="Elipse 3">
            <a:extLst>
              <a:ext uri="{FF2B5EF4-FFF2-40B4-BE49-F238E27FC236}">
                <a16:creationId xmlns:a16="http://schemas.microsoft.com/office/drawing/2014/main" id="{135FA2B3-0405-09B8-FFAF-F9F2A7766CB1}"/>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 name="Marcador de número de diapositiva 2">
            <a:extLst>
              <a:ext uri="{FF2B5EF4-FFF2-40B4-BE49-F238E27FC236}">
                <a16:creationId xmlns:a16="http://schemas.microsoft.com/office/drawing/2014/main" id="{F50A1507-29E5-976F-1E7C-C2837F7CF8E3}"/>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7</a:t>
            </a:fld>
            <a:endParaRPr lang="en-US" b="1">
              <a:solidFill>
                <a:schemeClr val="bg1"/>
              </a:solidFill>
              <a:latin typeface="Calibri"/>
              <a:ea typeface="ヒラギノ角ゴ Pro W3"/>
              <a:cs typeface="Calibri"/>
            </a:endParaRPr>
          </a:p>
        </p:txBody>
      </p:sp>
    </p:spTree>
    <p:extLst>
      <p:ext uri="{BB962C8B-B14F-4D97-AF65-F5344CB8AC3E}">
        <p14:creationId xmlns:p14="http://schemas.microsoft.com/office/powerpoint/2010/main" val="3197903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a:extLst>
              <a:ext uri="{FF2B5EF4-FFF2-40B4-BE49-F238E27FC236}">
                <a16:creationId xmlns:a16="http://schemas.microsoft.com/office/drawing/2014/main" id="{79FF9171-4EFA-C7FC-9453-8B12E46DE596}"/>
              </a:ext>
            </a:extLst>
          </p:cNvPr>
          <p:cNvSpPr txBox="1"/>
          <p:nvPr/>
        </p:nvSpPr>
        <p:spPr>
          <a:xfrm>
            <a:off x="580938" y="231065"/>
            <a:ext cx="7483292" cy="1015663"/>
          </a:xfrm>
          <a:prstGeom prst="rect">
            <a:avLst/>
          </a:prstGeom>
          <a:noFill/>
        </p:spPr>
        <p:txBody>
          <a:bodyPr wrap="square" rtlCol="0">
            <a:spAutoFit/>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a:ln>
                  <a:noFill/>
                </a:ln>
                <a:solidFill>
                  <a:srgbClr val="1F4E79"/>
                </a:solidFill>
                <a:effectLst/>
                <a:uLnTx/>
                <a:uFillTx/>
                <a:latin typeface="gobCL"/>
                <a:ea typeface="+mn-ea"/>
                <a:cs typeface="+mn-cs"/>
              </a:rPr>
              <a:t>La participación en la fuerza laboral se mantiene por debajo de los niveles previos a la pandemia para las personas de 54 años o más, así como para los jóvenes.</a:t>
            </a:r>
          </a:p>
        </p:txBody>
      </p:sp>
      <p:graphicFrame>
        <p:nvGraphicFramePr>
          <p:cNvPr id="4" name="Gráfico 3">
            <a:extLst>
              <a:ext uri="{FF2B5EF4-FFF2-40B4-BE49-F238E27FC236}">
                <a16:creationId xmlns:a16="http://schemas.microsoft.com/office/drawing/2014/main" id="{439E9468-D380-D3AA-1B22-5FF712728761}"/>
              </a:ext>
            </a:extLst>
          </p:cNvPr>
          <p:cNvGraphicFramePr>
            <a:graphicFrameLocks/>
          </p:cNvGraphicFramePr>
          <p:nvPr>
            <p:extLst>
              <p:ext uri="{D42A27DB-BD31-4B8C-83A1-F6EECF244321}">
                <p14:modId xmlns:p14="http://schemas.microsoft.com/office/powerpoint/2010/main" val="254783889"/>
              </p:ext>
            </p:extLst>
          </p:nvPr>
        </p:nvGraphicFramePr>
        <p:xfrm>
          <a:off x="606266" y="1367318"/>
          <a:ext cx="5191419" cy="449846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Gráfico 4">
            <a:extLst>
              <a:ext uri="{FF2B5EF4-FFF2-40B4-BE49-F238E27FC236}">
                <a16:creationId xmlns:a16="http://schemas.microsoft.com/office/drawing/2014/main" id="{4AC30DA8-8A0C-DEE5-13CD-3D9A961152AD}"/>
              </a:ext>
            </a:extLst>
          </p:cNvPr>
          <p:cNvGraphicFramePr>
            <a:graphicFrameLocks/>
          </p:cNvGraphicFramePr>
          <p:nvPr>
            <p:extLst>
              <p:ext uri="{D42A27DB-BD31-4B8C-83A1-F6EECF244321}">
                <p14:modId xmlns:p14="http://schemas.microsoft.com/office/powerpoint/2010/main" val="1905995496"/>
              </p:ext>
            </p:extLst>
          </p:nvPr>
        </p:nvGraphicFramePr>
        <p:xfrm>
          <a:off x="6096000" y="1367318"/>
          <a:ext cx="5051898" cy="4459550"/>
        </p:xfrm>
        <a:graphic>
          <a:graphicData uri="http://schemas.openxmlformats.org/drawingml/2006/chart">
            <c:chart xmlns:c="http://schemas.openxmlformats.org/drawingml/2006/chart" xmlns:r="http://schemas.openxmlformats.org/officeDocument/2006/relationships" r:id="rId4"/>
          </a:graphicData>
        </a:graphic>
      </p:graphicFrame>
      <p:sp>
        <p:nvSpPr>
          <p:cNvPr id="10" name="CuadroTexto 9">
            <a:extLst>
              <a:ext uri="{FF2B5EF4-FFF2-40B4-BE49-F238E27FC236}">
                <a16:creationId xmlns:a16="http://schemas.microsoft.com/office/drawing/2014/main" id="{C77F4BA3-0D2A-82EE-B49C-E477FB66A2B6}"/>
              </a:ext>
            </a:extLst>
          </p:cNvPr>
          <p:cNvSpPr txBox="1"/>
          <p:nvPr/>
        </p:nvSpPr>
        <p:spPr>
          <a:xfrm>
            <a:off x="684088" y="6030685"/>
            <a:ext cx="10509903" cy="369332"/>
          </a:xfrm>
          <a:prstGeom prst="rect">
            <a:avLst/>
          </a:prstGeom>
          <a:noFill/>
        </p:spPr>
        <p:txBody>
          <a:bodyPr wrap="square" rtlCol="0">
            <a:spAutoFit/>
          </a:bodyPr>
          <a:lstStyle/>
          <a:p>
            <a:pPr marL="0" marR="0" lvl="0" indent="0" algn="l" defTabSz="914400" rtl="0" eaLnBrk="1" fontAlgn="b" latinLnBrk="0" hangingPunct="1">
              <a:lnSpc>
                <a:spcPct val="100000"/>
              </a:lnSpc>
              <a:spcBef>
                <a:spcPts val="0"/>
              </a:spcBef>
              <a:spcAft>
                <a:spcPts val="0"/>
              </a:spcAft>
              <a:buClrTx/>
              <a:buSzTx/>
              <a:buFontTx/>
              <a:buNone/>
              <a:tabLst/>
              <a:defRPr/>
            </a:pPr>
            <a:r>
              <a:rPr kumimoji="0" lang="es-CL" sz="900" b="1" i="0" u="none" strike="noStrike" kern="1200" cap="none" spc="0" normalizeH="0" baseline="0" noProof="0">
                <a:ln>
                  <a:noFill/>
                </a:ln>
                <a:solidFill>
                  <a:srgbClr val="1F4E79"/>
                </a:solidFill>
                <a:effectLst/>
                <a:uLnTx/>
                <a:uFillTx/>
                <a:latin typeface="gobCL" pitchFamily="50" charset="0"/>
                <a:ea typeface="+mn-ea"/>
                <a:cs typeface="+mn-cs"/>
              </a:rPr>
              <a:t>Nota: </a:t>
            </a:r>
            <a:r>
              <a:rPr kumimoji="0" lang="es-CL" sz="900" b="0" i="0" u="none" strike="noStrike" kern="1200" cap="none" spc="0" normalizeH="0" baseline="0" noProof="0">
                <a:ln>
                  <a:noFill/>
                </a:ln>
                <a:solidFill>
                  <a:srgbClr val="1F4E79"/>
                </a:solidFill>
                <a:effectLst/>
                <a:uLnTx/>
                <a:uFillTx/>
                <a:latin typeface="gobCL" pitchFamily="50" charset="0"/>
                <a:ea typeface="+mn-ea"/>
                <a:cs typeface="+mn-cs"/>
              </a:rPr>
              <a:t>(1) </a:t>
            </a:r>
            <a:r>
              <a:rPr kumimoji="0" lang="es-ES" sz="900" b="0" i="0" u="none" strike="noStrike" kern="1200" cap="none" spc="0" normalizeH="0" baseline="0" noProof="0">
                <a:ln>
                  <a:noFill/>
                </a:ln>
                <a:solidFill>
                  <a:srgbClr val="1F4E79"/>
                </a:solidFill>
                <a:effectLst/>
                <a:uLnTx/>
                <a:uFillTx/>
                <a:latin typeface="gobCL" pitchFamily="50" charset="0"/>
                <a:ea typeface="+mn-ea"/>
                <a:cs typeface="+mn-cs"/>
              </a:rPr>
              <a:t>Participación laboral sobre su propio tramo de edad. </a:t>
            </a:r>
            <a:r>
              <a:rPr kumimoji="0" lang="es-CL" sz="900" b="0" i="0" u="none" strike="noStrike" kern="1200" cap="none" spc="0" normalizeH="0" baseline="0" noProof="0">
                <a:ln>
                  <a:noFill/>
                </a:ln>
                <a:solidFill>
                  <a:srgbClr val="1F4E79"/>
                </a:solidFill>
                <a:effectLst/>
                <a:uLnTx/>
                <a:uFillTx/>
                <a:latin typeface="gobCL" pitchFamily="50" charset="0"/>
                <a:ea typeface="+mn-ea"/>
                <a:cs typeface="+mn-cs"/>
              </a:rPr>
              <a:t>(2) El grupo de edad considerado es el de 15 a 24 años y el de 55 o más años.</a:t>
            </a:r>
          </a:p>
          <a:p>
            <a:pPr marL="0" marR="0" lvl="0" indent="0" algn="l" defTabSz="914400" rtl="0" eaLnBrk="1" fontAlgn="b" latinLnBrk="0" hangingPunct="1">
              <a:lnSpc>
                <a:spcPct val="100000"/>
              </a:lnSpc>
              <a:spcBef>
                <a:spcPts val="0"/>
              </a:spcBef>
              <a:spcAft>
                <a:spcPts val="0"/>
              </a:spcAft>
              <a:buClrTx/>
              <a:buSzTx/>
              <a:buFontTx/>
              <a:buNone/>
              <a:tabLst/>
              <a:defRPr/>
            </a:pPr>
            <a:r>
              <a:rPr kumimoji="0" lang="es-CL" sz="900" b="1" i="0" u="none" strike="noStrike" kern="1200" cap="none" spc="0" normalizeH="0" baseline="0" noProof="0">
                <a:ln>
                  <a:noFill/>
                </a:ln>
                <a:solidFill>
                  <a:srgbClr val="1F4E79"/>
                </a:solidFill>
                <a:effectLst/>
                <a:uLnTx/>
                <a:uFillTx/>
                <a:latin typeface="gobCL" pitchFamily="50" charset="0"/>
                <a:ea typeface="+mn-ea"/>
                <a:cs typeface="+mn-cs"/>
              </a:rPr>
              <a:t>Fuente</a:t>
            </a:r>
            <a:r>
              <a:rPr kumimoji="0" lang="es-CL" sz="900" b="0" i="0" u="none" strike="noStrike" kern="1200" cap="none" spc="0" normalizeH="0" baseline="0" noProof="0">
                <a:ln>
                  <a:noFill/>
                </a:ln>
                <a:solidFill>
                  <a:srgbClr val="1F4E79"/>
                </a:solidFill>
                <a:effectLst/>
                <a:uLnTx/>
                <a:uFillTx/>
                <a:latin typeface="gobCL" pitchFamily="50" charset="0"/>
                <a:ea typeface="+mn-ea"/>
                <a:cs typeface="+mn-cs"/>
              </a:rPr>
              <a:t>: Instituto Nacional de Estadísticas. </a:t>
            </a:r>
          </a:p>
        </p:txBody>
      </p:sp>
      <p:sp>
        <p:nvSpPr>
          <p:cNvPr id="3" name="Elipse 2">
            <a:extLst>
              <a:ext uri="{FF2B5EF4-FFF2-40B4-BE49-F238E27FC236}">
                <a16:creationId xmlns:a16="http://schemas.microsoft.com/office/drawing/2014/main" id="{F6285D8F-0FC1-048A-4947-55DE6A950F9D}"/>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6" name="Marcador de número de diapositiva 2">
            <a:extLst>
              <a:ext uri="{FF2B5EF4-FFF2-40B4-BE49-F238E27FC236}">
                <a16:creationId xmlns:a16="http://schemas.microsoft.com/office/drawing/2014/main" id="{286A08D5-D3C6-364B-42C5-3A81CEFB759C}"/>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8</a:t>
            </a:fld>
            <a:endParaRPr lang="en-US" b="1">
              <a:solidFill>
                <a:schemeClr val="bg1"/>
              </a:solidFill>
              <a:latin typeface="Calibri"/>
              <a:ea typeface="ヒラギノ角ゴ Pro W3"/>
              <a:cs typeface="Calibri"/>
            </a:endParaRPr>
          </a:p>
        </p:txBody>
      </p:sp>
    </p:spTree>
    <p:extLst>
      <p:ext uri="{BB962C8B-B14F-4D97-AF65-F5344CB8AC3E}">
        <p14:creationId xmlns:p14="http://schemas.microsoft.com/office/powerpoint/2010/main" val="9021663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uadroTexto 1">
            <a:extLst>
              <a:ext uri="{FF2B5EF4-FFF2-40B4-BE49-F238E27FC236}">
                <a16:creationId xmlns:a16="http://schemas.microsoft.com/office/drawing/2014/main" id="{79FF9171-4EFA-C7FC-9453-8B12E46DE596}"/>
              </a:ext>
            </a:extLst>
          </p:cNvPr>
          <p:cNvSpPr txBox="1"/>
          <p:nvPr/>
        </p:nvSpPr>
        <p:spPr>
          <a:xfrm>
            <a:off x="580938" y="221336"/>
            <a:ext cx="7405472" cy="1015663"/>
          </a:xfrm>
          <a:prstGeom prst="rect">
            <a:avLst/>
          </a:prstGeom>
          <a:noFill/>
        </p:spPr>
        <p:txBody>
          <a:bodyPr wrap="square" rtlCol="0">
            <a:spAutoFit/>
          </a:bodyPr>
          <a:lstStyle>
            <a:defPPr>
              <a:defRPr lang="es-C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000" b="1" i="0" u="none" strike="noStrike" kern="1200" cap="none" spc="0" normalizeH="0" baseline="0" noProof="0">
                <a:ln>
                  <a:noFill/>
                </a:ln>
                <a:solidFill>
                  <a:srgbClr val="1F4E79"/>
                </a:solidFill>
                <a:effectLst/>
                <a:uLnTx/>
                <a:uFillTx/>
                <a:latin typeface="gobCL"/>
                <a:ea typeface="+mn-ea"/>
                <a:cs typeface="+mn-cs"/>
              </a:rPr>
              <a:t>La caída en la inflación ha permitido una recuperación de las remuneraciones reales. Combinada con la evolución del empleo, apunta a un crecimiento de la masa salarial</a:t>
            </a:r>
          </a:p>
        </p:txBody>
      </p:sp>
      <p:graphicFrame>
        <p:nvGraphicFramePr>
          <p:cNvPr id="3" name="Gráfico 2">
            <a:extLst>
              <a:ext uri="{FF2B5EF4-FFF2-40B4-BE49-F238E27FC236}">
                <a16:creationId xmlns:a16="http://schemas.microsoft.com/office/drawing/2014/main" id="{D2CF6DA1-1A20-88BB-95DC-7BB647854626}"/>
              </a:ext>
            </a:extLst>
          </p:cNvPr>
          <p:cNvGraphicFramePr>
            <a:graphicFrameLocks/>
          </p:cNvGraphicFramePr>
          <p:nvPr>
            <p:extLst>
              <p:ext uri="{D42A27DB-BD31-4B8C-83A1-F6EECF244321}">
                <p14:modId xmlns:p14="http://schemas.microsoft.com/office/powerpoint/2010/main" val="2921778350"/>
              </p:ext>
            </p:extLst>
          </p:nvPr>
        </p:nvGraphicFramePr>
        <p:xfrm>
          <a:off x="532873" y="1368252"/>
          <a:ext cx="5099442" cy="468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Gráfico 5">
            <a:extLst>
              <a:ext uri="{FF2B5EF4-FFF2-40B4-BE49-F238E27FC236}">
                <a16:creationId xmlns:a16="http://schemas.microsoft.com/office/drawing/2014/main" id="{9F429372-6F0B-AD9C-8ACF-FC5073CE3709}"/>
              </a:ext>
            </a:extLst>
          </p:cNvPr>
          <p:cNvGraphicFramePr>
            <a:graphicFrameLocks/>
          </p:cNvGraphicFramePr>
          <p:nvPr>
            <p:extLst>
              <p:ext uri="{D42A27DB-BD31-4B8C-83A1-F6EECF244321}">
                <p14:modId xmlns:p14="http://schemas.microsoft.com/office/powerpoint/2010/main" val="3586607041"/>
              </p:ext>
            </p:extLst>
          </p:nvPr>
        </p:nvGraphicFramePr>
        <p:xfrm>
          <a:off x="6096000" y="1339068"/>
          <a:ext cx="5012987" cy="4680000"/>
        </p:xfrm>
        <a:graphic>
          <a:graphicData uri="http://schemas.openxmlformats.org/drawingml/2006/chart">
            <c:chart xmlns:c="http://schemas.openxmlformats.org/drawingml/2006/chart" xmlns:r="http://schemas.openxmlformats.org/officeDocument/2006/relationships" r:id="rId4"/>
          </a:graphicData>
        </a:graphic>
      </p:graphicFrame>
      <p:sp>
        <p:nvSpPr>
          <p:cNvPr id="9" name="Rectángulo 8">
            <a:extLst>
              <a:ext uri="{FF2B5EF4-FFF2-40B4-BE49-F238E27FC236}">
                <a16:creationId xmlns:a16="http://schemas.microsoft.com/office/drawing/2014/main" id="{54D09AC6-396A-0FDE-D57B-D8BC3220D99C}"/>
              </a:ext>
            </a:extLst>
          </p:cNvPr>
          <p:cNvSpPr/>
          <p:nvPr/>
        </p:nvSpPr>
        <p:spPr>
          <a:xfrm>
            <a:off x="610120" y="6134010"/>
            <a:ext cx="11136733" cy="230832"/>
          </a:xfrm>
          <a:prstGeom prst="rect">
            <a:avLst/>
          </a:prstGeom>
        </p:spPr>
        <p:txBody>
          <a:bodyPr wrap="square" lIns="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CL" sz="900" b="1" i="0" u="none" strike="noStrike" kern="1200" cap="none" spc="0" normalizeH="0" baseline="0" noProof="0">
                <a:ln>
                  <a:noFill/>
                </a:ln>
                <a:solidFill>
                  <a:srgbClr val="1F4E79"/>
                </a:solidFill>
                <a:effectLst/>
                <a:uLnTx/>
                <a:uFillTx/>
                <a:latin typeface="gobCL" panose="02000603050000020004"/>
                <a:ea typeface="+mn-ea"/>
                <a:cs typeface="+mn-cs"/>
              </a:rPr>
              <a:t>Fuente: </a:t>
            </a:r>
            <a:r>
              <a:rPr kumimoji="0" lang="es-ES" sz="900" b="0" i="0" u="none" strike="noStrike" kern="1200" cap="none" spc="0" normalizeH="0" baseline="0" noProof="0">
                <a:ln>
                  <a:noFill/>
                </a:ln>
                <a:solidFill>
                  <a:srgbClr val="1F4E79"/>
                </a:solidFill>
                <a:effectLst/>
                <a:uLnTx/>
                <a:uFillTx/>
                <a:latin typeface="Gobcl" panose="02000603050000020004"/>
                <a:ea typeface="+mn-ea"/>
                <a:cs typeface="+mn-cs"/>
              </a:rPr>
              <a:t>Instituto Nacional de Estadísticas. </a:t>
            </a:r>
            <a:endParaRPr kumimoji="0" lang="en-US" sz="900" b="0" i="0" u="none" strike="noStrike" kern="1200" cap="none" spc="0" normalizeH="0" baseline="0" noProof="0">
              <a:ln>
                <a:noFill/>
              </a:ln>
              <a:solidFill>
                <a:srgbClr val="1F4E79"/>
              </a:solidFill>
              <a:effectLst/>
              <a:uLnTx/>
              <a:uFillTx/>
              <a:latin typeface="gobCL" panose="02000603050000020004"/>
              <a:ea typeface="+mn-ea"/>
              <a:cs typeface="+mn-cs"/>
            </a:endParaRPr>
          </a:p>
        </p:txBody>
      </p:sp>
      <p:sp>
        <p:nvSpPr>
          <p:cNvPr id="4" name="Elipse 3">
            <a:extLst>
              <a:ext uri="{FF2B5EF4-FFF2-40B4-BE49-F238E27FC236}">
                <a16:creationId xmlns:a16="http://schemas.microsoft.com/office/drawing/2014/main" id="{72CD0783-25C6-B19B-20F3-9FBECDCD2920}"/>
              </a:ext>
            </a:extLst>
          </p:cNvPr>
          <p:cNvSpPr/>
          <p:nvPr/>
        </p:nvSpPr>
        <p:spPr>
          <a:xfrm>
            <a:off x="11834326" y="3397897"/>
            <a:ext cx="660918" cy="657031"/>
          </a:xfrm>
          <a:prstGeom prst="ellipse">
            <a:avLst/>
          </a:prstGeom>
          <a:solidFill>
            <a:srgbClr val="00467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a:p>
        </p:txBody>
      </p:sp>
      <p:sp>
        <p:nvSpPr>
          <p:cNvPr id="5" name="Marcador de número de diapositiva 2">
            <a:extLst>
              <a:ext uri="{FF2B5EF4-FFF2-40B4-BE49-F238E27FC236}">
                <a16:creationId xmlns:a16="http://schemas.microsoft.com/office/drawing/2014/main" id="{DD32EDF0-E203-0888-101B-9656472ABDC0}"/>
              </a:ext>
            </a:extLst>
          </p:cNvPr>
          <p:cNvSpPr txBox="1">
            <a:spLocks/>
          </p:cNvSpPr>
          <p:nvPr/>
        </p:nvSpPr>
        <p:spPr>
          <a:xfrm>
            <a:off x="11755794" y="3545504"/>
            <a:ext cx="410547" cy="365125"/>
          </a:xfrm>
          <a:prstGeom prst="rect">
            <a:avLst/>
          </a:prstGeom>
        </p:spPr>
        <p:txBody>
          <a:bodyPr vert="horz" lIns="91440" tIns="45720" rIns="91440" bIns="45720" rtlCol="0" anchor="ctr"/>
          <a:lstStyle>
            <a:defPPr>
              <a:defRPr lang="es-CL"/>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defTabSz="457200" fontAlgn="base">
              <a:spcBef>
                <a:spcPct val="0"/>
              </a:spcBef>
              <a:spcAft>
                <a:spcPct val="0"/>
              </a:spcAft>
              <a:defRPr/>
            </a:pPr>
            <a:fld id="{297A4493-267D-4AFD-9A54-8C39776037CB}" type="slidenum">
              <a:rPr lang="en-US" b="1" dirty="0">
                <a:solidFill>
                  <a:schemeClr val="bg1"/>
                </a:solidFill>
                <a:latin typeface="Calibri"/>
                <a:ea typeface="ヒラギノ角ゴ Pro W3"/>
                <a:cs typeface="Calibri"/>
              </a:rPr>
              <a:pPr algn="r" defTabSz="457200" fontAlgn="base">
                <a:spcBef>
                  <a:spcPct val="0"/>
                </a:spcBef>
                <a:spcAft>
                  <a:spcPct val="0"/>
                </a:spcAft>
                <a:defRPr/>
              </a:pPr>
              <a:t>9</a:t>
            </a:fld>
            <a:endParaRPr lang="en-US" b="1">
              <a:solidFill>
                <a:schemeClr val="bg1"/>
              </a:solidFill>
              <a:latin typeface="Calibri"/>
              <a:ea typeface="ヒラギノ角ゴ Pro W3"/>
              <a:cs typeface="Calibri"/>
            </a:endParaRPr>
          </a:p>
        </p:txBody>
      </p:sp>
    </p:spTree>
    <p:extLst>
      <p:ext uri="{BB962C8B-B14F-4D97-AF65-F5344CB8AC3E}">
        <p14:creationId xmlns:p14="http://schemas.microsoft.com/office/powerpoint/2010/main" val="42309561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IPRES" id="{CEE81A77-8A7C-46E5-B866-94B9A98A7357}" vid="{CFCB6724-F5E2-486D-A5CF-CF72CCE30BCC}"/>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2AD6B513E7CDA4990020EC7EB8E0D8E" ma:contentTypeVersion="17" ma:contentTypeDescription="Create a new document." ma:contentTypeScope="" ma:versionID="341c16154687bacca18d7239986b5b6f">
  <xsd:schema xmlns:xsd="http://www.w3.org/2001/XMLSchema" xmlns:xs="http://www.w3.org/2001/XMLSchema" xmlns:p="http://schemas.microsoft.com/office/2006/metadata/properties" xmlns:ns2="13c15ce8-991d-4b2d-b6be-853f523b056d" xmlns:ns3="4751c463-2dfb-44ac-a9d4-83a7edc993f7" targetNamespace="http://schemas.microsoft.com/office/2006/metadata/properties" ma:root="true" ma:fieldsID="bca509f7b35b5e0e8893b9ed80ed4066" ns2:_="" ns3:_="">
    <xsd:import namespace="13c15ce8-991d-4b2d-b6be-853f523b056d"/>
    <xsd:import namespace="4751c463-2dfb-44ac-a9d4-83a7edc993f7"/>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LengthInSeconds"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lcf76f155ced4ddcb4097134ff3c332f" minOccurs="0"/>
                <xsd:element ref="ns3:TaxCatchAll" minOccurs="0"/>
                <xsd:element ref="ns2:MediaServiceLocation"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3c15ce8-991d-4b2d-b6be-853f523b056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429bffdc-a54b-43ae-9e42-6b83f556f1ab"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dexed="true" ma:internalName="MediaServiceLocation" ma:readOnly="true">
      <xsd:simpleType>
        <xsd:restriction base="dms:Text"/>
      </xsd:simple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751c463-2dfb-44ac-a9d4-83a7edc993f7"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536aebab-1d30-47d2-940e-fc039b384830}" ma:internalName="TaxCatchAll" ma:showField="CatchAllData" ma:web="4751c463-2dfb-44ac-a9d4-83a7edc993f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13c15ce8-991d-4b2d-b6be-853f523b056d">
      <Terms xmlns="http://schemas.microsoft.com/office/infopath/2007/PartnerControls"/>
    </lcf76f155ced4ddcb4097134ff3c332f>
    <TaxCatchAll xmlns="4751c463-2dfb-44ac-a9d4-83a7edc993f7" xsi:nil="true"/>
    <SharedWithUsers xmlns="4751c463-2dfb-44ac-a9d4-83a7edc993f7">
      <UserInfo>
        <DisplayName>Pablo Jorquera Armijo</DisplayName>
        <AccountId>9</AccountId>
        <AccountType/>
      </UserInfo>
      <UserInfo>
        <DisplayName>Francisca Olivares A</DisplayName>
        <AccountId>30</AccountId>
        <AccountType/>
      </UserInfo>
      <UserInfo>
        <DisplayName>Tania Hernández J</DisplayName>
        <AccountId>97</AccountId>
        <AccountType/>
      </UserInfo>
      <UserInfo>
        <DisplayName>Gloria Uribe B.</DisplayName>
        <AccountId>230</AccountId>
        <AccountType/>
      </UserInfo>
      <UserInfo>
        <DisplayName>Patricia Orellana F.</DisplayName>
        <AccountId>71</AccountId>
        <AccountType/>
      </UserInfo>
      <UserInfo>
        <DisplayName>Miguel Brante Contreras</DisplayName>
        <AccountId>14</AccountId>
        <AccountType/>
      </UserInfo>
      <UserInfo>
        <DisplayName>Joaquín Perez A</DisplayName>
        <AccountId>13</AccountId>
        <AccountType/>
      </UserInfo>
      <UserInfo>
        <DisplayName>Camila Ureta Retamal</DisplayName>
        <AccountId>25</AccountId>
        <AccountType/>
      </UserInfo>
      <UserInfo>
        <DisplayName>Matías Contreras Figueroa</DisplayName>
        <AccountId>1208</AccountId>
        <AccountType/>
      </UserInfo>
      <UserInfo>
        <DisplayName>Javiera Martínez Fariña</DisplayName>
        <AccountId>58</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F36EF6D-07BA-4F5C-8FD7-D7E50283C20F}">
  <ds:schemaRefs>
    <ds:schemaRef ds:uri="13c15ce8-991d-4b2d-b6be-853f523b056d"/>
    <ds:schemaRef ds:uri="4751c463-2dfb-44ac-a9d4-83a7edc993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132C0EAF-1AE5-4D76-A1D4-ADF3B4EA7899}">
  <ds:schemaRefs>
    <ds:schemaRef ds:uri="13c15ce8-991d-4b2d-b6be-853f523b056d"/>
    <ds:schemaRef ds:uri="4751c463-2dfb-44ac-a9d4-83a7edc993f7"/>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37A3422E-EF13-415D-A2D9-5F7B4B4DEC3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TotalTime>
  <Words>6667</Words>
  <Application>Microsoft Office PowerPoint</Application>
  <PresentationFormat>Panorámica</PresentationFormat>
  <Paragraphs>787</Paragraphs>
  <Slides>54</Slides>
  <Notes>21</Notes>
  <HiddenSlides>15</HiddenSlides>
  <MMClips>0</MMClips>
  <ScaleCrop>false</ScaleCrop>
  <HeadingPairs>
    <vt:vector size="8" baseType="variant">
      <vt:variant>
        <vt:lpstr>Fuentes usadas</vt:lpstr>
      </vt:variant>
      <vt:variant>
        <vt:i4>9</vt:i4>
      </vt:variant>
      <vt:variant>
        <vt:lpstr>Tema</vt:lpstr>
      </vt:variant>
      <vt:variant>
        <vt:i4>1</vt:i4>
      </vt:variant>
      <vt:variant>
        <vt:lpstr>Servidores OLE incrustados</vt:lpstr>
      </vt:variant>
      <vt:variant>
        <vt:i4>1</vt:i4>
      </vt:variant>
      <vt:variant>
        <vt:lpstr>Títulos de diapositiva</vt:lpstr>
      </vt:variant>
      <vt:variant>
        <vt:i4>54</vt:i4>
      </vt:variant>
    </vt:vector>
  </HeadingPairs>
  <TitlesOfParts>
    <vt:vector size="65" baseType="lpstr">
      <vt:lpstr>Arial</vt:lpstr>
      <vt:lpstr>Calibri</vt:lpstr>
      <vt:lpstr>Calibri Light</vt:lpstr>
      <vt:lpstr>Gobcl</vt:lpstr>
      <vt:lpstr>Gobcl</vt:lpstr>
      <vt:lpstr>Gobcl</vt:lpstr>
      <vt:lpstr>Times New Roman</vt:lpstr>
      <vt:lpstr>Verdana</vt:lpstr>
      <vt:lpstr>Wingdings</vt:lpstr>
      <vt:lpstr>Tema de Office</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Mesas Transversales</vt:lpstr>
      <vt:lpstr>Mesas Transversales</vt:lpstr>
      <vt:lpstr>Mesas Transversales</vt:lpstr>
      <vt:lpstr>Mesas Transversales</vt:lpstr>
      <vt:lpstr>Mesas Transversales</vt:lpstr>
      <vt:lpstr>Mesas Transversales</vt:lpstr>
      <vt:lpstr>Mesas Transversales</vt:lpstr>
      <vt:lpstr>Mesas Transversales – Salud Mental</vt:lpstr>
      <vt:lpstr>Mesas Transversales</vt:lpstr>
      <vt:lpstr>Mesas Transversales</vt:lpstr>
      <vt:lpstr>Mesas Transversales</vt:lpstr>
      <vt:lpstr>Mesas Transversales</vt:lpstr>
      <vt:lpstr>Mesas Transversales</vt:lpstr>
      <vt:lpstr>Mesas Transversales</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DIPRES</dc:creator>
  <cp:lastModifiedBy>Belén Vásquez</cp:lastModifiedBy>
  <cp:revision>3</cp:revision>
  <cp:lastPrinted>2022-12-12T15:03:30Z</cp:lastPrinted>
  <dcterms:created xsi:type="dcterms:W3CDTF">2022-04-14T17:42:17Z</dcterms:created>
  <dcterms:modified xsi:type="dcterms:W3CDTF">2023-12-12T22:49:0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AD6B513E7CDA4990020EC7EB8E0D8E</vt:lpwstr>
  </property>
  <property fmtid="{D5CDD505-2E9C-101B-9397-08002B2CF9AE}" pid="3" name="MediaServiceImageTags">
    <vt:lpwstr/>
  </property>
</Properties>
</file>